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slides/slide10.xml" ContentType="application/vnd.openxmlformats-officedocument.presentationml.slide+xml"/>
  <Override PartName="/ppt/presentation.xml" ContentType="application/vnd.openxmlformats-officedocument.presentationml.presentation.main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3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6.xml" ContentType="application/vnd.openxmlformats-officedocument.theme+xml"/>
  <Override PartName="/ppt/theme/theme3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90" r:id="rId3"/>
    <p:sldMasterId id="2147483700" r:id="rId4"/>
    <p:sldMasterId id="2147483730" r:id="rId5"/>
  </p:sldMasterIdLst>
  <p:notesMasterIdLst>
    <p:notesMasterId r:id="rId16"/>
  </p:notesMasterIdLst>
  <p:sldIdLst>
    <p:sldId id="286" r:id="rId6"/>
    <p:sldId id="259" r:id="rId7"/>
    <p:sldId id="276" r:id="rId8"/>
    <p:sldId id="267" r:id="rId9"/>
    <p:sldId id="279" r:id="rId10"/>
    <p:sldId id="284" r:id="rId11"/>
    <p:sldId id="281" r:id="rId12"/>
    <p:sldId id="282" r:id="rId13"/>
    <p:sldId id="283" r:id="rId14"/>
    <p:sldId id="263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3" pos="742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7060"/>
    <a:srgbClr val="E04E39"/>
    <a:srgbClr val="E14E39"/>
    <a:srgbClr val="003D4C"/>
    <a:srgbClr val="77E2C3"/>
    <a:srgbClr val="002F3A"/>
    <a:srgbClr val="006077"/>
    <a:srgbClr val="238C93"/>
    <a:srgbClr val="007C89"/>
    <a:srgbClr val="00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98" autoAdjust="0"/>
    <p:restoredTop sz="94660"/>
  </p:normalViewPr>
  <p:slideViewPr>
    <p:cSldViewPr snapToGrid="0">
      <p:cViewPr varScale="1">
        <p:scale>
          <a:sx n="50" d="100"/>
          <a:sy n="50" d="100"/>
        </p:scale>
        <p:origin x="29" y="422"/>
      </p:cViewPr>
      <p:guideLst>
        <p:guide orient="horz" pos="1207"/>
        <p:guide pos="302"/>
        <p:guide pos="742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111A4E-E308-4F14-B6FB-7826EEEAFEF6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7B9FF8-E0EF-4929-A87F-422A7302050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342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3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484DEC-FBBD-41C5-B6F1-9167CD694591}" type="datetime4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 марта 2024 г.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C9E7D-DF78-4283-97F9-86BECCE66EA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284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svg"/><Relationship Id="rId4" Type="http://schemas.openxmlformats.org/officeDocument/2006/relationships/image" Target="../media/image8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.emf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6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8.svg"/><Relationship Id="rId3" Type="http://schemas.openxmlformats.org/officeDocument/2006/relationships/image" Target="../media/image18.png"/><Relationship Id="rId7" Type="http://schemas.openxmlformats.org/officeDocument/2006/relationships/image" Target="../media/image22.svg"/><Relationship Id="rId12" Type="http://schemas.openxmlformats.org/officeDocument/2006/relationships/image" Target="../media/image21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11" Type="http://schemas.openxmlformats.org/officeDocument/2006/relationships/image" Target="../media/image26.svg"/><Relationship Id="rId10" Type="http://schemas.openxmlformats.org/officeDocument/2006/relationships/image" Target="../media/image20.png"/><Relationship Id="rId9" Type="http://schemas.openxmlformats.org/officeDocument/2006/relationships/image" Target="../media/image24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7912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4116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6770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07841" y="463845"/>
            <a:ext cx="740579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209513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321387" y="463845"/>
            <a:ext cx="739224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064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3928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22557" y="463845"/>
            <a:ext cx="5373793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1278744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6024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096077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478367" y="463844"/>
            <a:ext cx="5380567" cy="897467"/>
          </a:xfr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528561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188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2077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5332800" y="0"/>
            <a:ext cx="68592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92386"/>
            <a:ext cx="11282849" cy="275852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66208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48343"/>
            <a:ext cx="11282849" cy="2802568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823094" y="627380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75082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64067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64759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5332800" y="0"/>
            <a:ext cx="68592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06400"/>
            <a:ext cx="11282849" cy="27445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64067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015885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22657" y="387049"/>
            <a:ext cx="7878065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48184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82618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9"/>
            <a:ext cx="7869937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64797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27874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9"/>
            <a:ext cx="7869937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64797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4704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30410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8"/>
            <a:ext cx="7869936" cy="1249393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430866"/>
            <a:ext cx="8764797" cy="342713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764800" y="0"/>
            <a:ext cx="34272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015192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41206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67694"/>
            <a:ext cx="9024789" cy="185783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53469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9907200" y="4573200"/>
            <a:ext cx="2284800" cy="22848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86059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184179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1123526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1123526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2341107"/>
            <a:ext cx="11235265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95000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19966"/>
            <a:ext cx="9024789" cy="1841005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7549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2400" y="4567197"/>
            <a:ext cx="2289600" cy="229080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06401"/>
            <a:ext cx="9024789" cy="179977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51866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rgbClr val="FFFFFF"/>
                </a:solidFill>
              </a:rPr>
              <a:t>Партнеры</a:t>
            </a:r>
            <a:r>
              <a:rPr lang="ru-RU" sz="1467" baseline="0" dirty="0">
                <a:solidFill>
                  <a:srgbClr val="FFFFFF"/>
                </a:solidFill>
              </a:rPr>
              <a:t> для роста</a:t>
            </a:r>
            <a:endParaRPr lang="ru-RU" sz="1467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9896399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9902400" y="2283599"/>
            <a:ext cx="2289600" cy="2290803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9902405" y="0"/>
            <a:ext cx="2289595" cy="2290803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19914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9"/>
            <a:ext cx="9024789" cy="181915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73200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457320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622401" y="45732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32664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9024789" cy="179977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73200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7613999" y="4567197"/>
            <a:ext cx="22896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9903602" y="4568400"/>
            <a:ext cx="2288399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75779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4575" y="377650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65227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7613999" y="4567197"/>
            <a:ext cx="22896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9903602" y="4568400"/>
            <a:ext cx="2288399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51818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4575" y="399061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12143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2400" y="4567197"/>
            <a:ext cx="2289600" cy="22908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77650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9907196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9902400" y="2283599"/>
            <a:ext cx="2289600" cy="229080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9903602" y="0"/>
            <a:ext cx="2288399" cy="22896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4065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1364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74649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10353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1674"/>
            <a:ext cx="9024789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099848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51300"/>
            <a:ext cx="114569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68800" y="4573201"/>
            <a:ext cx="53232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289598" y="4573201"/>
            <a:ext cx="2289601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4573201"/>
            <a:ext cx="22896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9197" y="4573201"/>
            <a:ext cx="2289603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05048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4676"/>
            <a:ext cx="9024789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099848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51300"/>
            <a:ext cx="114569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68800" y="4573200"/>
            <a:ext cx="53232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4579200" y="4567197"/>
            <a:ext cx="2289600" cy="2290803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2289600" y="4567197"/>
            <a:ext cx="2289600" cy="2290803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4567197"/>
            <a:ext cx="2289600" cy="2290803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04689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2605700"/>
            <a:ext cx="11282849" cy="155131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150800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16673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54395" y="0"/>
            <a:ext cx="5337604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284799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69597" y="0"/>
            <a:ext cx="2284801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716693"/>
            <a:ext cx="1472905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10058573" y="610736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7" y="4347023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47141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2599406"/>
            <a:ext cx="11282849" cy="163535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150800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16673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54395" y="0"/>
            <a:ext cx="5337604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716693"/>
            <a:ext cx="1472905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10058573" y="610736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4564792" y="0"/>
            <a:ext cx="2289600" cy="2290803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2289600" y="0"/>
            <a:ext cx="2289600" cy="2290803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2289600" cy="2290803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4347023"/>
            <a:ext cx="8977207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64069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764797" cy="68580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2221698"/>
            <a:ext cx="7869936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532505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202236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4596178"/>
            <a:ext cx="7822353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098065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764797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764800" y="0"/>
            <a:ext cx="34272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47431" y="2243904"/>
            <a:ext cx="7869936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532505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6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202236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4548537"/>
            <a:ext cx="7839000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8268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66245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FBDF11-73A6-4272-8303-B28A08727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30898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73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5333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667">
                <a:solidFill>
                  <a:srgbClr val="888888"/>
                </a:solidFill>
              </a:defRPr>
            </a:lvl1pPr>
            <a:lvl2pPr marL="1219170" lvl="1" indent="-304792" algn="l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2pPr>
            <a:lvl3pPr marL="1828754" lvl="2" indent="-304792" algn="l"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2133">
                <a:solidFill>
                  <a:srgbClr val="888888"/>
                </a:solidFill>
              </a:defRPr>
            </a:lvl3pPr>
            <a:lvl4pPr marL="2438339" lvl="3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4pPr>
            <a:lvl5pPr marL="3047924" lvl="4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5pPr>
            <a:lvl6pPr marL="3657509" lvl="5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6pPr>
            <a:lvl7pPr marL="4267093" lvl="6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7pPr>
            <a:lvl8pPr marL="4876678" lvl="7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8pPr>
            <a:lvl9pPr marL="5486263" lvl="8" indent="-304792" algn="l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4" name="Google Shape;34;p73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73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73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2309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52327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74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74"/>
          <p:cNvSpPr txBox="1">
            <a:spLocks noGrp="1"/>
          </p:cNvSpPr>
          <p:nvPr>
            <p:ph type="body" idx="1"/>
          </p:nvPr>
        </p:nvSpPr>
        <p:spPr>
          <a:xfrm>
            <a:off x="609600" y="1200151"/>
            <a:ext cx="5384800" cy="3394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  <p:sp>
        <p:nvSpPr>
          <p:cNvPr id="40" name="Google Shape;40;p74"/>
          <p:cNvSpPr txBox="1">
            <a:spLocks noGrp="1"/>
          </p:cNvSpPr>
          <p:nvPr>
            <p:ph type="body" idx="2"/>
          </p:nvPr>
        </p:nvSpPr>
        <p:spPr>
          <a:xfrm>
            <a:off x="6197600" y="1200151"/>
            <a:ext cx="5384800" cy="3394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  <p:sp>
        <p:nvSpPr>
          <p:cNvPr id="41" name="Google Shape;41;p74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74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74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40117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75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75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  <p:sp>
        <p:nvSpPr>
          <p:cNvPr id="47" name="Google Shape;47;p75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48" name="Google Shape;48;p75"/>
          <p:cNvSpPr txBox="1">
            <a:spLocks noGrp="1"/>
          </p:cNvSpPr>
          <p:nvPr>
            <p:ph type="body" idx="3"/>
          </p:nvPr>
        </p:nvSpPr>
        <p:spPr>
          <a:xfrm>
            <a:off x="6193369" y="1535113"/>
            <a:ext cx="5389033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  <p:sp>
        <p:nvSpPr>
          <p:cNvPr id="49" name="Google Shape;49;p75"/>
          <p:cNvSpPr txBox="1">
            <a:spLocks noGrp="1"/>
          </p:cNvSpPr>
          <p:nvPr>
            <p:ph type="body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50" name="Google Shape;50;p75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75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75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30869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76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76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76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76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2267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77"/>
          <p:cNvSpPr txBox="1"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667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77"/>
          <p:cNvSpPr txBox="1">
            <a:spLocks noGrp="1"/>
          </p:cNvSpPr>
          <p:nvPr>
            <p:ph type="body"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75719" algn="l"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4267"/>
            </a:lvl1pPr>
            <a:lvl2pPr marL="1219170" lvl="1" indent="-541853" algn="l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3733"/>
            </a:lvl2pPr>
            <a:lvl3pPr marL="1828754" lvl="2" indent="-507987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3pPr>
            <a:lvl4pPr marL="2438339" lvl="3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4pPr>
            <a:lvl5pPr marL="3047924" lvl="4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667"/>
            </a:lvl5pPr>
            <a:lvl6pPr marL="3657509" lvl="5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6pPr>
            <a:lvl7pPr marL="4267093" lvl="6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7pPr>
            <a:lvl8pPr marL="4876678" lvl="7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8pPr>
            <a:lvl9pPr marL="5486263" lvl="8" indent="-474121" algn="l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9pPr>
          </a:lstStyle>
          <a:p>
            <a:endParaRPr/>
          </a:p>
        </p:txBody>
      </p:sp>
      <p:sp>
        <p:nvSpPr>
          <p:cNvPr id="61" name="Google Shape;61;p77"/>
          <p:cNvSpPr txBox="1">
            <a:spLocks noGrp="1"/>
          </p:cNvSpPr>
          <p:nvPr>
            <p:ph type="body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62" name="Google Shape;62;p77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77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77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722547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78"/>
          <p:cNvSpPr txBox="1"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667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78"/>
          <p:cNvSpPr>
            <a:spLocks noGrp="1"/>
          </p:cNvSpPr>
          <p:nvPr>
            <p:ph type="pic" idx="2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78"/>
          <p:cNvSpPr txBox="1">
            <a:spLocks noGrp="1"/>
          </p:cNvSpPr>
          <p:nvPr>
            <p:ph type="body" idx="1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  <p:sp>
        <p:nvSpPr>
          <p:cNvPr id="69" name="Google Shape;69;p78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8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78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7569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79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79"/>
          <p:cNvSpPr txBox="1">
            <a:spLocks noGrp="1"/>
          </p:cNvSpPr>
          <p:nvPr>
            <p:ph type="body" idx="1"/>
          </p:nvPr>
        </p:nvSpPr>
        <p:spPr>
          <a:xfrm rot="5400000">
            <a:off x="3833019" y="-1623217"/>
            <a:ext cx="4525963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7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7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7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13612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80"/>
          <p:cNvSpPr txBox="1">
            <a:spLocks noGrp="1"/>
          </p:cNvSpPr>
          <p:nvPr>
            <p:ph type="title"/>
          </p:nvPr>
        </p:nvSpPr>
        <p:spPr>
          <a:xfrm rot="5400000">
            <a:off x="8016875" y="1028700"/>
            <a:ext cx="4387851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80"/>
          <p:cNvSpPr txBox="1">
            <a:spLocks noGrp="1"/>
          </p:cNvSpPr>
          <p:nvPr>
            <p:ph type="body" idx="1"/>
          </p:nvPr>
        </p:nvSpPr>
        <p:spPr>
          <a:xfrm rot="5400000">
            <a:off x="2428875" y="-1612900"/>
            <a:ext cx="4387851" cy="8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80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80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80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59834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FBDF11-73A6-4272-8303-B28A08727A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588041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28178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5332800" y="0"/>
            <a:ext cx="68592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92386"/>
            <a:ext cx="11282849" cy="275852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6157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47142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48343"/>
            <a:ext cx="11282849" cy="2802568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164067"/>
            <a:ext cx="7026544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823094" y="627380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55365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64067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71330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5332800" y="0"/>
            <a:ext cx="68592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06400"/>
            <a:ext cx="11282849" cy="27445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4259508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64067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6242933"/>
            <a:ext cx="1472905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3381359"/>
            <a:ext cx="11235265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2600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22657" y="387049"/>
            <a:ext cx="7878065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48184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55026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9"/>
            <a:ext cx="7869937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64797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82659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9"/>
            <a:ext cx="7869937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015192"/>
            <a:ext cx="355388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8764797" cy="3427135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38338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387048"/>
            <a:ext cx="7869936" cy="1249393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261078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430866"/>
            <a:ext cx="8764797" cy="342713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764800" y="0"/>
            <a:ext cx="34272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015192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1779706"/>
            <a:ext cx="78223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97695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67694"/>
            <a:ext cx="9024789" cy="185783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53469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9907200" y="4573200"/>
            <a:ext cx="2284800" cy="22848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12191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93108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11282849" cy="184179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1123526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1123526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2341107"/>
            <a:ext cx="11235265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66622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19966"/>
            <a:ext cx="9024789" cy="1841005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253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1642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2400" y="4567197"/>
            <a:ext cx="2289600" cy="229080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406401"/>
            <a:ext cx="9024789" cy="179977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51866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rgbClr val="FFFFFF"/>
                </a:solidFill>
              </a:rPr>
              <a:t>Партнеры</a:t>
            </a:r>
            <a:r>
              <a:rPr lang="ru-RU" sz="1467" baseline="0" dirty="0">
                <a:solidFill>
                  <a:srgbClr val="FFFFFF"/>
                </a:solidFill>
              </a:rPr>
              <a:t> для роста</a:t>
            </a:r>
            <a:endParaRPr lang="ru-RU" sz="1467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9896399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9902400" y="2283599"/>
            <a:ext cx="2289600" cy="2290803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9902405" y="0"/>
            <a:ext cx="2289595" cy="2290803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02030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9"/>
            <a:ext cx="9024789" cy="181915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73200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457320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622401" y="45732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446486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7048"/>
            <a:ext cx="9024789" cy="179977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73200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7613999" y="4567197"/>
            <a:ext cx="22896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9903602" y="4568400"/>
            <a:ext cx="2288399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81684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4575" y="377650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155767" y="4063296"/>
            <a:ext cx="17795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3" y="4565227"/>
            <a:ext cx="76211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7613999" y="4567197"/>
            <a:ext cx="22896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9903602" y="4568400"/>
            <a:ext cx="2288399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52333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4575" y="399061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59309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2400" y="4567197"/>
            <a:ext cx="2289600" cy="22908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77650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9907196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9902400" y="2283599"/>
            <a:ext cx="2289600" cy="229080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9903602" y="0"/>
            <a:ext cx="2288399" cy="22896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933177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9908400" y="4573200"/>
            <a:ext cx="2283600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74649"/>
            <a:ext cx="9024789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123707"/>
            <a:ext cx="8977207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63296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397653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0058573" y="578832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9907196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907200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07202" y="228660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81842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1674"/>
            <a:ext cx="9024789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099848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51300"/>
            <a:ext cx="114569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68800" y="4573201"/>
            <a:ext cx="53232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289598" y="4573201"/>
            <a:ext cx="2289601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4573201"/>
            <a:ext cx="22896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9197" y="4573201"/>
            <a:ext cx="2289603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86069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384676"/>
            <a:ext cx="9024789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3099848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4051300"/>
            <a:ext cx="1145695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474848"/>
            <a:ext cx="1472905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68800" y="4573200"/>
            <a:ext cx="53232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10058573" y="844136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4579200" y="4567197"/>
            <a:ext cx="2289600" cy="2290803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2289600" y="4567197"/>
            <a:ext cx="2289600" cy="2290803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4567197"/>
            <a:ext cx="2289600" cy="2290803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2341107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60301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5" y="2605700"/>
            <a:ext cx="11282849" cy="155131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150800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16673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54395" y="0"/>
            <a:ext cx="5337604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284799" y="0"/>
            <a:ext cx="22848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0"/>
            <a:ext cx="22847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69597" y="0"/>
            <a:ext cx="2284801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716693"/>
            <a:ext cx="1472905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10058573" y="610736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7" y="4347023"/>
            <a:ext cx="8977207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9928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88738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2599406"/>
            <a:ext cx="11282849" cy="163535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5150800"/>
            <a:ext cx="8977207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7" y="6116673"/>
            <a:ext cx="8977207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6854395" y="0"/>
            <a:ext cx="5337604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2861" y="5716693"/>
            <a:ext cx="1472905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10058573" y="6107360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accent1"/>
                </a:solidFill>
              </a:rPr>
              <a:t>Партнеры</a:t>
            </a:r>
            <a:r>
              <a:rPr lang="ru-RU" sz="1467" baseline="0" dirty="0">
                <a:solidFill>
                  <a:schemeClr val="accent1"/>
                </a:solidFill>
              </a:rPr>
              <a:t> для роста</a:t>
            </a:r>
            <a:endParaRPr lang="ru-RU" sz="1467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4564792" y="0"/>
            <a:ext cx="2289600" cy="2290803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2289600" y="0"/>
            <a:ext cx="2289600" cy="2290803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2289600" cy="2290803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7" y="4347023"/>
            <a:ext cx="8977207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69195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764797" cy="68580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0784" y="2221698"/>
            <a:ext cx="7869936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532505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6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202236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8764800" y="0"/>
            <a:ext cx="3427200" cy="342900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4596178"/>
            <a:ext cx="7822353" cy="647700"/>
          </a:xfrm>
        </p:spPr>
        <p:txBody>
          <a:bodyPr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77276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8764797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8764800" y="3429000"/>
            <a:ext cx="34272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5393" y="5736792"/>
            <a:ext cx="1472905" cy="2784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541105" y="6127459"/>
            <a:ext cx="1975413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67" dirty="0">
                <a:solidFill>
                  <a:schemeClr val="bg1"/>
                </a:solidFill>
              </a:rPr>
              <a:t>Партнеры</a:t>
            </a:r>
            <a:r>
              <a:rPr lang="ru-RU" sz="1467" baseline="0" dirty="0">
                <a:solidFill>
                  <a:schemeClr val="bg1"/>
                </a:solidFill>
              </a:rPr>
              <a:t> для роста</a:t>
            </a:r>
            <a:endParaRPr lang="ru-RU" sz="1467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8764800" y="0"/>
            <a:ext cx="34272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47431" y="2243904"/>
            <a:ext cx="7869936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72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8" y="5325050"/>
            <a:ext cx="7822353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6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78368" y="6202236"/>
            <a:ext cx="7822353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33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478368" y="4548537"/>
            <a:ext cx="7839000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12135859" y="-56814"/>
            <a:ext cx="3815344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6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600" b="0" dirty="0">
                  <a:solidFill>
                    <a:schemeClr val="bg1"/>
                  </a:solidFill>
                </a:rPr>
              </a:br>
              <a:r>
                <a:rPr lang="ru-RU" sz="16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1038851" rtl="0" eaLnBrk="1" latinLnBrk="0" hangingPunct="1"/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indent="-243409" algn="l" defTabSz="1038851" rtl="0" eaLnBrk="1" latinLnBrk="0" hangingPunct="1"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67" b="0" baseline="0" dirty="0">
                  <a:solidFill>
                    <a:schemeClr val="bg1"/>
                  </a:solidFill>
                </a:rPr>
                <a:t> </a:t>
              </a:r>
              <a:r>
                <a:rPr lang="ru-RU" sz="1067" baseline="0" dirty="0">
                  <a:solidFill>
                    <a:schemeClr val="bg1"/>
                  </a:solidFill>
                </a:rPr>
                <a:t>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en-US" sz="1067" b="1" dirty="0">
                  <a:solidFill>
                    <a:schemeClr val="bg1"/>
                  </a:solidFill>
                </a:rPr>
                <a:t>Arial</a:t>
              </a:r>
              <a:r>
                <a:rPr lang="ru-RU" sz="1067" dirty="0">
                  <a:solidFill>
                    <a:schemeClr val="bg1"/>
                  </a:solidFill>
                </a:rPr>
                <a:t> (</a:t>
              </a:r>
              <a:r>
                <a:rPr lang="ru-RU" sz="1067" i="1" dirty="0">
                  <a:solidFill>
                    <a:schemeClr val="bg1"/>
                  </a:solidFill>
                </a:rPr>
                <a:t>д</a:t>
              </a:r>
              <a:r>
                <a:rPr lang="ru-RU" sz="10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r>
                <a:rPr lang="en-US" sz="10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67" baseline="0" dirty="0">
                  <a:solidFill>
                    <a:schemeClr val="bg1"/>
                  </a:solidFill>
                </a:rPr>
                <a:t>)</a:t>
              </a: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67" b="1" baseline="0" dirty="0">
                  <a:solidFill>
                    <a:schemeClr val="bg1"/>
                  </a:solidFill>
                </a:rPr>
                <a:t>8</a:t>
              </a:r>
              <a:r>
                <a:rPr lang="ru-RU" sz="1067" b="1" baseline="0" dirty="0">
                  <a:solidFill>
                    <a:schemeClr val="bg1"/>
                  </a:solidFill>
                </a:rPr>
                <a:t> </a:t>
              </a:r>
              <a:r>
                <a:rPr lang="ru-RU" sz="1067" b="1" baseline="0" dirty="0" err="1">
                  <a:solidFill>
                    <a:schemeClr val="bg1"/>
                  </a:solidFill>
                </a:rPr>
                <a:t>пт</a:t>
              </a:r>
              <a:endParaRPr lang="ru-RU" sz="1067" b="1" baseline="0" dirty="0">
                <a:solidFill>
                  <a:schemeClr val="bg1"/>
                </a:solidFill>
              </a:endParaRPr>
            </a:p>
            <a:p>
              <a:pPr marL="355588" lvl="4" indent="-118529" algn="l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67" b="1" baseline="0" dirty="0">
                <a:solidFill>
                  <a:schemeClr val="bg1"/>
                </a:solidFill>
              </a:endParaRPr>
            </a:p>
            <a:p>
              <a:pPr marL="243409" indent="-243409" algn="l" defTabSz="1038851" rtl="0" eaLnBrk="1" latinLnBrk="0" hangingPunct="1">
                <a:spcBef>
                  <a:spcPts val="400"/>
                </a:spcBef>
                <a:spcAft>
                  <a:spcPts val="267"/>
                </a:spcAft>
                <a:buFont typeface="+mj-lt"/>
                <a:buAutoNum type="arabicPeriod"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355588" lvl="1" indent="-105831" algn="l" defTabSz="1038851" rtl="0" eaLnBrk="1" latinLnBrk="0" hangingPunct="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355588" lvl="1" indent="-105831" algn="l" defTabSz="1038851" rtl="0" eaLnBrk="1" latinLnBrk="0" hangingPunct="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355588" marR="0" lvl="1" indent="-112181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67" dirty="0">
                  <a:solidFill>
                    <a:schemeClr val="bg1"/>
                  </a:solidFill>
                </a:rPr>
                <a:t>в</a:t>
              </a:r>
              <a:r>
                <a:rPr lang="ru-RU" sz="10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355588" lvl="1" indent="-112181">
                <a:spcAft>
                  <a:spcPts val="2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Нельзя</a:t>
              </a:r>
              <a:r>
                <a:rPr lang="ru-RU" sz="10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355588" lvl="1" indent="-112181">
                <a:spcAft>
                  <a:spcPts val="1067"/>
                </a:spcAft>
                <a:buFont typeface="Arial" panose="020B0604020202020204" pitchFamily="34" charset="0"/>
                <a:buChar char="•"/>
              </a:pPr>
              <a:r>
                <a:rPr lang="ru-RU" sz="10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67" baseline="0" dirty="0">
                  <a:solidFill>
                    <a:schemeClr val="bg1"/>
                  </a:solidFill>
                </a:rPr>
                <a:t> – </a:t>
              </a:r>
              <a:br>
                <a:rPr lang="ru-RU" sz="1067" baseline="0" dirty="0">
                  <a:solidFill>
                    <a:schemeClr val="bg1"/>
                  </a:solidFill>
                </a:rPr>
              </a:br>
              <a:r>
                <a:rPr lang="ru-RU" sz="10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67" b="1" dirty="0">
                <a:solidFill>
                  <a:schemeClr val="bg1"/>
                </a:solidFill>
              </a:endParaRPr>
            </a:p>
            <a:p>
              <a:pPr marL="243409" marR="0" lvl="0" indent="-243409" algn="l" defTabSz="1038851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26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355588" marR="0" lvl="1" indent="-122764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762837" marR="0" lvl="1" indent="-243409" algn="l" defTabSz="10388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23008" cy="5155816"/>
              <a:chOff x="9101894" y="-42611"/>
              <a:chExt cx="623008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4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</a:t>
                </a:r>
                <a:r>
                  <a:rPr lang="en-US" sz="933" dirty="0">
                    <a:solidFill>
                      <a:srgbClr val="FFFFFF"/>
                    </a:solidFill>
                  </a:rPr>
                  <a:t>49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0,0,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61</a:t>
                </a:r>
                <a:br>
                  <a:rPr lang="en-US" sz="933" dirty="0">
                    <a:solidFill>
                      <a:schemeClr val="bg1"/>
                    </a:solidFill>
                  </a:rPr>
                </a:br>
                <a:r>
                  <a:rPr lang="en-US" sz="933" dirty="0">
                    <a:solidFill>
                      <a:schemeClr val="bg1"/>
                    </a:solidFill>
                  </a:rPr>
                  <a:t>76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45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5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135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000000"/>
                    </a:solidFill>
                  </a:rPr>
                  <a:t>255</a:t>
                </a:r>
                <a:endParaRPr lang="ru-RU" sz="9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933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933" dirty="0">
                    <a:solidFill>
                      <a:schemeClr val="bg1"/>
                    </a:solidFill>
                  </a:rPr>
                  <a:t>1</a:t>
                </a:r>
                <a:r>
                  <a:rPr lang="en-US" sz="933" dirty="0">
                    <a:solidFill>
                      <a:schemeClr val="bg1"/>
                    </a:solidFill>
                  </a:rPr>
                  <a:t>40</a:t>
                </a:r>
                <a:endParaRPr lang="ru-RU" sz="933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chemeClr val="bg1"/>
                    </a:solidFill>
                  </a:rPr>
                  <a:t>250</a:t>
                </a:r>
                <a:endParaRPr lang="ru-RU" sz="93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5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20</a:t>
                </a:r>
                <a:endParaRPr lang="ru-RU" sz="933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110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933" dirty="0">
                    <a:solidFill>
                      <a:srgbClr val="FFFFFF"/>
                    </a:solidFill>
                  </a:rPr>
                  <a:t>224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78</a:t>
                </a:r>
                <a:br>
                  <a:rPr lang="en-US" sz="933" dirty="0">
                    <a:solidFill>
                      <a:srgbClr val="FFFFFF"/>
                    </a:solidFill>
                  </a:rPr>
                </a:br>
                <a:r>
                  <a:rPr lang="en-US" sz="933" dirty="0">
                    <a:solidFill>
                      <a:srgbClr val="FFFFFF"/>
                    </a:solidFill>
                  </a:rPr>
                  <a:t>57</a:t>
                </a:r>
                <a:endParaRPr lang="ru-RU" sz="933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23008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21805" cy="1924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067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10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7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5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rgbClr val="FFFFFF"/>
                    </a:solidFill>
                  </a:rPr>
                  <a:t>30%</a:t>
                </a:r>
                <a:endParaRPr lang="ru-RU" sz="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800" dirty="0">
                    <a:solidFill>
                      <a:schemeClr val="tx1"/>
                    </a:solidFill>
                  </a:rPr>
                  <a:t>10%</a:t>
                </a:r>
                <a:endParaRPr lang="ru-RU" sz="8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55519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C51F1FD-78F8-1406-AAED-54CEB9224A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5DFC09-2499-7243-93AF-0777E496F867}" type="datetimeFigureOut">
              <a:rPr lang="ru-RU" altLang="ru-RU"/>
              <a:pPr>
                <a:defRPr/>
              </a:pPr>
              <a:t>26.03.2024</a:t>
            </a:fld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9CAA1B-E4D1-1EF0-5583-0160677EC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BE8BE84-D576-7B32-5C92-A083A88900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FDF62C9-FD2B-0E41-B744-B7FEF287D3D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63907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620519A-66DB-4FC8-92AB-D513D127FF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1E33E14-EC87-4884-B8CB-BE605B5BB3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A3D15A5-604E-4314-93E7-78A6BB6765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739485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016BD77-D4F4-42EB-8746-A6FEFEF920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1E33E14-EC87-4884-B8CB-BE605B5BB3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FA3D15A5-604E-4314-93E7-78A6BB6765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147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48B996D-DDF0-4BFE-B720-ACD755DAD5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C96876E-EBE3-4167-B929-490D17659C2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7">
            <a:extLst>
              <a:ext uri="{FF2B5EF4-FFF2-40B4-BE49-F238E27FC236}">
                <a16:creationId xmlns:a16="http://schemas.microsoft.com/office/drawing/2014/main" id="{44E5373F-91B5-4785-AA06-4B37E1C09B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92825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F77E1FE-DC1A-42BB-BFF6-55040245BB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D44C9F-705C-4E61-AFB6-870FF0645D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57D643F7-B9C5-4332-8803-35C74B5E0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431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EB39F19-DB01-4F04-9E04-4AA540A3ED8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D44C9F-705C-4E61-AFB6-870FF0645D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57D643F7-B9C5-4332-8803-35C74B5E0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4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441DFE0-110E-41FE-93D8-7B529F12E3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D44C9F-705C-4E61-AFB6-870FF0645D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57D643F7-B9C5-4332-8803-35C74B5E0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96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05792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C5B0328-7E2A-49A0-A2AF-E50371078A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D44C9F-705C-4E61-AFB6-870FF0645D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1000" y="2568854"/>
            <a:ext cx="4739640" cy="1354217"/>
          </a:xfrm>
        </p:spPr>
        <p:txBody>
          <a:bodyPr wrap="square" anchor="b">
            <a:sp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57D643F7-B9C5-4332-8803-35C74B5E0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4229100"/>
            <a:ext cx="4739640" cy="668867"/>
          </a:xfrm>
        </p:spPr>
        <p:txBody>
          <a:bodyPr/>
          <a:lstStyle>
            <a:lvl1pPr>
              <a:defRPr sz="1867" b="1">
                <a:solidFill>
                  <a:schemeClr val="tx2"/>
                </a:solidFill>
              </a:defRPr>
            </a:lvl1pPr>
            <a:lvl2pPr>
              <a:defRPr sz="1867" b="1">
                <a:solidFill>
                  <a:schemeClr val="tx2"/>
                </a:solidFill>
              </a:defRPr>
            </a:lvl2pPr>
            <a:lvl3pPr>
              <a:defRPr sz="1867" b="1">
                <a:solidFill>
                  <a:schemeClr val="tx2"/>
                </a:solidFill>
              </a:defRPr>
            </a:lvl3pPr>
            <a:lvl4pPr>
              <a:defRPr sz="1867" b="1">
                <a:solidFill>
                  <a:schemeClr val="tx2"/>
                </a:solidFill>
              </a:defRPr>
            </a:lvl4pPr>
            <a:lvl5pPr>
              <a:defRPr sz="1867" b="1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DCBD603-8850-4629-B64E-7BD45F4312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97117" y="6334514"/>
            <a:ext cx="956096" cy="1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7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82F901-84C2-4823-92A6-12BFBE5072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1109332"/>
          </a:xfrm>
          <a:prstGeom prst="rect">
            <a:avLst/>
          </a:prstGeom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194702"/>
            <a:ext cx="11235267" cy="741719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747668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482F901-84C2-4823-92A6-12BFBE5072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1109332"/>
          </a:xfrm>
          <a:prstGeom prst="rect">
            <a:avLst/>
          </a:prstGeom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8" y="194702"/>
            <a:ext cx="10248739" cy="741719"/>
          </a:xfrm>
        </p:spPr>
        <p:txBody>
          <a:bodyPr vert="horz"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EAB6375-139F-4B32-8FF9-F9B16A2A699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78099" y="-260029"/>
            <a:ext cx="1226107" cy="1267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84826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D67EAC-506C-4630-8B8B-5DEFB152E2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0894"/>
            <a:ext cx="12192000" cy="1109332"/>
          </a:xfrm>
          <a:prstGeom prst="rect">
            <a:avLst/>
          </a:prstGeom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194702"/>
            <a:ext cx="11235267" cy="741719"/>
          </a:xfrm>
        </p:spPr>
        <p:txBody>
          <a:bodyPr vert="horz" anchor="ctr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71126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21" y="2119"/>
            <a:ext cx="2116" cy="2116"/>
          </a:xfrm>
          <a:prstGeom prst="rect">
            <a:avLst/>
          </a:prstGeom>
          <a:noFill/>
        </p:spPr>
      </p:pic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81D354-0EF1-4EF8-A51B-31EAF6583F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894917" y="97815"/>
            <a:ext cx="1151009" cy="118980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72EB4AE-2DCC-478D-94F0-57611538158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89008" y="5270635"/>
            <a:ext cx="702893" cy="131149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890F19B-8880-4A0E-91E6-28DA9733DB9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420768" y="394842"/>
            <a:ext cx="2704843" cy="12660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5EE7D7D-F0C8-4115-BECB-48018C265DF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rot="10800000">
            <a:off x="5782476" y="6181478"/>
            <a:ext cx="2704843" cy="12660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793C946-77C2-4E93-9841-4DFF46314F2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9017608" y="6102752"/>
            <a:ext cx="811587" cy="67011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B80327F-7EB8-428E-AB70-28958990C6E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rot="16200000">
            <a:off x="-698553" y="3697395"/>
            <a:ext cx="2350649" cy="11003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7813B95-A30D-4848-8032-945808D2D87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rot="16200000">
            <a:off x="10538309" y="4229733"/>
            <a:ext cx="2350649" cy="110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5734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59792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17701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1219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917596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739805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0384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1740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680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49107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7436759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"/>
            <a:ext cx="4064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4094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1100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23910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8128000" y="1509185"/>
            <a:ext cx="4064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9003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24956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97094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509185"/>
            <a:ext cx="6096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8506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42411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3216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6" y="463845"/>
            <a:ext cx="5385407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3144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70" y="1605"/>
            <a:ext cx="1953" cy="1587"/>
          </a:xfrm>
          <a:prstGeom prst="rect">
            <a:avLst/>
          </a:prstGeom>
          <a:noFill/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78367" y="463845"/>
            <a:ext cx="5346701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"/>
            <a:ext cx="609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9247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theme" Target="../theme/theme4.xml"/><Relationship Id="rId30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theme" Target="../theme/theme5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40" Type="http://schemas.openxmlformats.org/officeDocument/2006/relationships/image" Target="../media/image6.sv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C330F9-816B-4159-A50C-1CF08A8E1C1E}" type="datetimeFigureOut">
              <a:rPr lang="ru-RU" smtClean="0"/>
              <a:t>26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EB5A2-A934-4D35-9C9F-304E92914D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1671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ChangeAspect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1968" y="1601"/>
            <a:ext cx="1953" cy="1587"/>
          </a:xfrm>
          <a:prstGeom prst="rect">
            <a:avLst/>
          </a:prstGeom>
          <a:noFill/>
        </p:spPr>
      </p:pic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647" y="6377659"/>
            <a:ext cx="1015987" cy="192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6" y="452966"/>
            <a:ext cx="11235268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3224" y="6343514"/>
            <a:ext cx="439296" cy="253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1228797" y="6343514"/>
            <a:ext cx="7082099" cy="26473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454410" y="6343514"/>
            <a:ext cx="1273989" cy="26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12135858" y="-56815"/>
            <a:ext cx="830677" cy="6874421"/>
            <a:chOff x="9101894" y="-42611"/>
            <a:chExt cx="623008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4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</a:t>
              </a:r>
              <a:r>
                <a:rPr lang="en-US" sz="933" dirty="0">
                  <a:solidFill>
                    <a:srgbClr val="FFFFFF"/>
                  </a:solidFill>
                </a:rPr>
                <a:t>49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0,0,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61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76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45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5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135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chemeClr val="bg1"/>
                  </a:solidFill>
                </a:rPr>
                <a:t>1</a:t>
              </a:r>
              <a:r>
                <a:rPr lang="en-US" sz="933" dirty="0">
                  <a:solidFill>
                    <a:schemeClr val="bg1"/>
                  </a:solidFill>
                </a:rPr>
                <a:t>4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250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5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2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1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24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78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57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2300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2180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 err="1"/>
                <a:t>Доп.цвета</a:t>
              </a:r>
              <a:endParaRPr lang="ru-RU" sz="1067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7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5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3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%</a:t>
              </a:r>
              <a:endParaRPr lang="ru-RU" sz="8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478367" y="1509184"/>
            <a:ext cx="11235267" cy="4559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24607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9" r:id="rId26"/>
    <p:sldLayoutId id="2147483729" r:id="rId27"/>
  </p:sldLayoutIdLst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667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867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6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333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67">
          <a:solidFill>
            <a:schemeClr val="tx2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69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69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69"/>
          <p:cNvSpPr txBox="1">
            <a:spLocks noGrp="1"/>
          </p:cNvSpPr>
          <p:nvPr>
            <p:ph type="dt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69"/>
          <p:cNvSpPr txBox="1">
            <a:spLocks noGrp="1"/>
          </p:cNvSpPr>
          <p:nvPr>
            <p:ph type="ft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69"/>
          <p:cNvSpPr txBox="1">
            <a:spLocks noGrp="1"/>
          </p:cNvSpPr>
          <p:nvPr>
            <p:ph type="sldNum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8674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2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ChangeAspect="1"/>
          </p:cNvPicPr>
          <p:nvPr/>
        </p:nvPicPr>
        <p:blipFill>
          <a:blip r:embed="rId29"/>
          <a:srcRect/>
          <a:stretch>
            <a:fillRect/>
          </a:stretch>
        </p:blipFill>
        <p:spPr bwMode="auto">
          <a:xfrm>
            <a:off x="1968" y="1601"/>
            <a:ext cx="1953" cy="1587"/>
          </a:xfrm>
          <a:prstGeom prst="rect">
            <a:avLst/>
          </a:prstGeom>
          <a:noFill/>
        </p:spPr>
      </p:pic>
      <p:sp>
        <p:nvSpPr>
          <p:cNvPr id="4" name="Прямоугольник 3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647" y="6377659"/>
            <a:ext cx="1015987" cy="192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6" y="452966"/>
            <a:ext cx="11235268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3224" y="6343514"/>
            <a:ext cx="439296" cy="253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1228797" y="6343514"/>
            <a:ext cx="7082099" cy="26473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454410" y="6343514"/>
            <a:ext cx="1273989" cy="26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12135858" y="-56815"/>
            <a:ext cx="830677" cy="6874421"/>
            <a:chOff x="9101894" y="-42611"/>
            <a:chExt cx="623008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4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</a:t>
              </a:r>
              <a:r>
                <a:rPr lang="en-US" sz="933" dirty="0">
                  <a:solidFill>
                    <a:srgbClr val="FFFFFF"/>
                  </a:solidFill>
                </a:rPr>
                <a:t>49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0,0,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61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76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45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5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135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chemeClr val="bg1"/>
                  </a:solidFill>
                </a:rPr>
                <a:t>1</a:t>
              </a:r>
              <a:r>
                <a:rPr lang="en-US" sz="933" dirty="0">
                  <a:solidFill>
                    <a:schemeClr val="bg1"/>
                  </a:solidFill>
                </a:rPr>
                <a:t>4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250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5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2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1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24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78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57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2300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2180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 err="1"/>
                <a:t>Доп.цвета</a:t>
              </a:r>
              <a:endParaRPr lang="ru-RU" sz="1067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7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5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3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%</a:t>
              </a:r>
              <a:endParaRPr lang="ru-RU" sz="8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478367" y="1509184"/>
            <a:ext cx="11235267" cy="4559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99096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</p:sldLayoutIdLst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667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867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6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333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67">
          <a:solidFill>
            <a:schemeClr val="tx2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ChangeAspect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1968" y="1601"/>
            <a:ext cx="1953" cy="1587"/>
          </a:xfrm>
          <a:prstGeom prst="rect">
            <a:avLst/>
          </a:prstGeom>
          <a:noFill/>
        </p:spPr>
      </p:pic>
      <p:sp>
        <p:nvSpPr>
          <p:cNvPr id="4" name="Прямоугольник 3" hidden="1"/>
          <p:cNvSpPr/>
          <p:nvPr userDrawn="1">
            <p:custDataLst>
              <p:tags r:id="rId34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366" y="463845"/>
            <a:ext cx="11235268" cy="896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83851" y="6347813"/>
            <a:ext cx="425444" cy="24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0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1228799" y="6340605"/>
            <a:ext cx="7090455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67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450466" y="6347813"/>
            <a:ext cx="1277933" cy="260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78366" y="1527044"/>
            <a:ext cx="11235269" cy="454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78" name="Группа 77"/>
          <p:cNvGrpSpPr/>
          <p:nvPr userDrawn="1"/>
        </p:nvGrpSpPr>
        <p:grpSpPr>
          <a:xfrm>
            <a:off x="12135858" y="-56815"/>
            <a:ext cx="830677" cy="6874421"/>
            <a:chOff x="9101894" y="-42611"/>
            <a:chExt cx="623008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4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</a:t>
              </a:r>
              <a:r>
                <a:rPr lang="en-US" sz="933" dirty="0">
                  <a:solidFill>
                    <a:srgbClr val="FFFFFF"/>
                  </a:solidFill>
                </a:rPr>
                <a:t>49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0,0,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61</a:t>
              </a:r>
              <a:br>
                <a:rPr lang="en-US" sz="933" dirty="0">
                  <a:solidFill>
                    <a:schemeClr val="bg1"/>
                  </a:solidFill>
                </a:rPr>
              </a:br>
              <a:r>
                <a:rPr lang="en-US" sz="933" dirty="0">
                  <a:solidFill>
                    <a:schemeClr val="bg1"/>
                  </a:solidFill>
                </a:rPr>
                <a:t>76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45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5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135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000000"/>
                  </a:solidFill>
                </a:rPr>
                <a:t>255</a:t>
              </a:r>
              <a:endParaRPr lang="ru-RU" sz="933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933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933" dirty="0">
                  <a:solidFill>
                    <a:schemeClr val="bg1"/>
                  </a:solidFill>
                </a:rPr>
                <a:t>1</a:t>
              </a:r>
              <a:r>
                <a:rPr lang="en-US" sz="933" dirty="0">
                  <a:solidFill>
                    <a:schemeClr val="bg1"/>
                  </a:solidFill>
                </a:rPr>
                <a:t>40</a:t>
              </a:r>
              <a:endParaRPr lang="ru-RU" sz="933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chemeClr val="bg1"/>
                  </a:solidFill>
                </a:rPr>
                <a:t>250</a:t>
              </a:r>
              <a:endParaRPr lang="ru-RU" sz="933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5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20</a:t>
              </a:r>
              <a:endParaRPr lang="ru-RU" sz="933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110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933" dirty="0">
                  <a:solidFill>
                    <a:srgbClr val="FFFFFF"/>
                  </a:solidFill>
                </a:rPr>
                <a:t>224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78</a:t>
              </a:r>
              <a:br>
                <a:rPr lang="en-US" sz="933" dirty="0">
                  <a:solidFill>
                    <a:srgbClr val="FFFFFF"/>
                  </a:solidFill>
                </a:rPr>
              </a:br>
              <a:r>
                <a:rPr lang="en-US" sz="933" dirty="0">
                  <a:solidFill>
                    <a:srgbClr val="FFFFFF"/>
                  </a:solidFill>
                </a:rPr>
                <a:t>57</a:t>
              </a:r>
              <a:endParaRPr lang="ru-RU" sz="933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23008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21805" cy="1924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67" dirty="0" err="1"/>
                <a:t>Доп.цвета</a:t>
              </a:r>
              <a:endParaRPr lang="ru-RU" sz="1067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7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5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rgbClr val="FFFFFF"/>
                  </a:solidFill>
                </a:rPr>
                <a:t>30%</a:t>
              </a:r>
              <a:endParaRPr lang="ru-RU" sz="8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 dirty="0">
                  <a:solidFill>
                    <a:schemeClr val="tx1"/>
                  </a:solidFill>
                </a:rPr>
                <a:t>10%</a:t>
              </a:r>
              <a:endParaRPr lang="ru-RU" sz="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BF906800-4DF2-4CCA-8A0E-BEDFF8E6C233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xmlns="" r:embed="rId40"/>
              </a:ext>
            </a:extLst>
          </a:blip>
          <a:stretch>
            <a:fillRect/>
          </a:stretch>
        </p:blipFill>
        <p:spPr>
          <a:xfrm>
            <a:off x="10769301" y="6390139"/>
            <a:ext cx="956096" cy="17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44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51" r:id="rId21"/>
    <p:sldLayoutId id="2147483752" r:id="rId22"/>
    <p:sldLayoutId id="2147483753" r:id="rId23"/>
    <p:sldLayoutId id="2147483754" r:id="rId24"/>
    <p:sldLayoutId id="2147483755" r:id="rId25"/>
    <p:sldLayoutId id="2147483756" r:id="rId26"/>
    <p:sldLayoutId id="2147483757" r:id="rId27"/>
    <p:sldLayoutId id="2147483758" r:id="rId28"/>
    <p:sldLayoutId id="2147483759" r:id="rId29"/>
    <p:sldLayoutId id="2147483760" r:id="rId30"/>
    <p:sldLayoutId id="2147483761" r:id="rId31"/>
    <p:sldLayoutId id="2147483762" r:id="rId32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6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None/>
        <a:defRPr lang="ru-RU" sz="186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6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33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2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None/>
        <a:defRPr lang="ru-RU" sz="1067" dirty="0">
          <a:solidFill>
            <a:schemeClr val="tx2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TolmachevaOV@sibur.ru" TargetMode="External"/><Relationship Id="rId3" Type="http://schemas.openxmlformats.org/officeDocument/2006/relationships/image" Target="../media/image24.png"/><Relationship Id="rId7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zhigalovaia@sibur.ru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8.svg"/><Relationship Id="rId9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5.png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7.xml"/><Relationship Id="rId5" Type="http://schemas.openxmlformats.org/officeDocument/2006/relationships/image" Target="../media/image25.png"/><Relationship Id="rId4" Type="http://schemas.openxmlformats.org/officeDocument/2006/relationships/image" Target="../media/image8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p.sibur.local/orgunits/talents/_layouts/15/WopiFrame.aspx?sourcedoc=%7BC3DDF73E-593F-4BA1-9248-FA349B8418D6%7D&amp;file=%D0%A8%D0%B0%D0%B1%D0%BB%D0%BE%D0%BD_%D0%BF%D1%80%D0%B5%D0%B7%D0%B5%D0%BD%D1%82%D0%B0%D1%86%D0%B8%D1%8F%20%D0%BF%D1%80%D0%BE%D0%B5%D0%BA%D1%82%D0%B0_%D0%A4%D0%BE%D1%80%D1%83%D0%BC%20%D0%9C%D0%A1%202024_26.03.24.pptx&amp;action=default&amp;IsList=1&amp;ListId=%7B719F3227-A63E-4362-B916-1CA8B823B931%7D&amp;ListItemId=8027" TargetMode="External"/><Relationship Id="rId2" Type="http://schemas.openxmlformats.org/officeDocument/2006/relationships/hyperlink" Target="https://cloud.mail.ru/public/2fdx/sHG8AWkCq" TargetMode="External"/><Relationship Id="rId1" Type="http://schemas.openxmlformats.org/officeDocument/2006/relationships/slideLayout" Target="../slideLayouts/slideLayout38.xml"/><Relationship Id="rId5" Type="http://schemas.openxmlformats.org/officeDocument/2006/relationships/hyperlink" Target="https://sp.sibur.local/orgunits/talents/_layouts/15/WopiFrame.aspx?sourcedoc=%7B2A0D9BCF-DD77-4B42-9128-1E94122157B2%7D&amp;file=%D0%9D%D0%B0%D0%B2%D0%B8%D0%B3%D0%B0%D1%82%D0%BE%D1%80_%D0%B4%D0%BB%D1%8F%20%D1%83%D1%87%D0%B0%D1%81%D1%82%D0%BD%D0%B8%D0%BA%D0%BE%D0%B2%20%D0%A4%D0%BE%D1%80%D1%83%D0%BC%D0%B0%20%D0%9C%D0%A1.pdf&amp;action=default&amp;IsList=1&amp;ListId=%7B719F3227-A63E-4362-B916-1CA8B823B931%7D&amp;ListItemId=2168" TargetMode="Externa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FD95259-9BF8-4A58-8E46-C68B97F25A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" t="46" r="6" b="53"/>
          <a:stretch/>
        </p:blipFill>
        <p:spPr>
          <a:xfrm>
            <a:off x="103447" y="269743"/>
            <a:ext cx="4526875" cy="2473920"/>
          </a:xfrm>
          <a:prstGeom prst="rect">
            <a:avLst/>
          </a:prstGeom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155A4FFA-500A-444B-9A38-D2285B09815E}"/>
              </a:ext>
            </a:extLst>
          </p:cNvPr>
          <p:cNvSpPr txBox="1">
            <a:spLocks/>
          </p:cNvSpPr>
          <p:nvPr/>
        </p:nvSpPr>
        <p:spPr>
          <a:xfrm>
            <a:off x="-105193" y="473671"/>
            <a:ext cx="9144000" cy="923330"/>
          </a:xfrm>
          <a:prstGeom prst="rect">
            <a:avLst/>
          </a:prstGeom>
        </p:spPr>
        <p:txBody>
          <a:bodyPr vert="horz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70"/>
            <a:endParaRPr lang="ru-RU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7758EBE-D519-4142-BCC5-A9629743579A}"/>
              </a:ext>
            </a:extLst>
          </p:cNvPr>
          <p:cNvSpPr txBox="1">
            <a:spLocks/>
          </p:cNvSpPr>
          <p:nvPr/>
        </p:nvSpPr>
        <p:spPr>
          <a:xfrm>
            <a:off x="5999650" y="3918782"/>
            <a:ext cx="5690657" cy="902683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45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219170"/>
            <a:r>
              <a:rPr lang="ru-RU" sz="2933" kern="0" dirty="0">
                <a:solidFill>
                  <a:srgbClr val="000000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ФОРУМ МОЛОДЫХ</a:t>
            </a:r>
          </a:p>
          <a:p>
            <a:pPr algn="ctr" defTabSz="1219170"/>
            <a:r>
              <a:rPr lang="ru-RU" sz="2933" kern="0" dirty="0">
                <a:solidFill>
                  <a:srgbClr val="000000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СПЕЦИАЛИСТОВ 2024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4248D24-8D20-48D5-A3DC-4A51F831641A}"/>
              </a:ext>
            </a:extLst>
          </p:cNvPr>
          <p:cNvSpPr txBox="1">
            <a:spLocks/>
          </p:cNvSpPr>
          <p:nvPr/>
        </p:nvSpPr>
        <p:spPr>
          <a:xfrm>
            <a:off x="6295463" y="5210935"/>
            <a:ext cx="5099028" cy="55399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45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1219170"/>
            <a:r>
              <a:rPr lang="ru-RU" sz="1800" i="1" kern="0" dirty="0" smtClean="0">
                <a:solidFill>
                  <a:prstClr val="white"/>
                </a:solidFill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Команды дерзателей, нацеленных на поиск улучшений и эффектов</a:t>
            </a:r>
            <a:endParaRPr lang="ru-RU" sz="1800" i="1" kern="0" dirty="0">
              <a:solidFill>
                <a:prstClr val="white"/>
              </a:solidFill>
              <a:latin typeface="Arial" panose="020B0604020202020204" pitchFamily="34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85EC322A-3BA6-4503-8CE2-C9663F378F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76" y="3631459"/>
            <a:ext cx="5286579" cy="1477328"/>
          </a:xfrm>
        </p:spPr>
        <p:txBody>
          <a:bodyPr/>
          <a:lstStyle/>
          <a:p>
            <a:r>
              <a:rPr lang="ru-RU" sz="4800" dirty="0" smtClean="0"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ПРАВИЛА</a:t>
            </a:r>
            <a:r>
              <a:rPr lang="ru-RU" dirty="0" smtClean="0"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 </a:t>
            </a:r>
            <a:r>
              <a:rPr lang="ru-RU" sz="4800" dirty="0" smtClean="0">
                <a:latin typeface="Arial" panose="020B0604020202020204" pitchFamily="34" charset="0"/>
                <a:ea typeface="Roboto Black" panose="02000000000000000000" pitchFamily="2" charset="0"/>
                <a:cs typeface="Arial" panose="020B0604020202020204" pitchFamily="34" charset="0"/>
              </a:rPr>
              <a:t>ПРОВЕДЕНИЯ</a:t>
            </a:r>
            <a:endParaRPr lang="ru-RU" dirty="0">
              <a:latin typeface="Arial" panose="020B0604020202020204" pitchFamily="34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40837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2">
            <a:extLst>
              <a:ext uri="{FF2B5EF4-FFF2-40B4-BE49-F238E27FC236}">
                <a16:creationId xmlns:a16="http://schemas.microsoft.com/office/drawing/2014/main" id="{91D62E22-9D94-674F-8549-8B2CBFF13A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16052"/>
            <a:ext cx="12192000" cy="2341948"/>
          </a:xfrm>
          <a:prstGeom prst="rect">
            <a:avLst/>
          </a:prstGeom>
        </p:spPr>
      </p:pic>
      <p:pic>
        <p:nvPicPr>
          <p:cNvPr id="18" name="Рисунок 3">
            <a:extLst>
              <a:ext uri="{FF2B5EF4-FFF2-40B4-BE49-F238E27FC236}">
                <a16:creationId xmlns:a16="http://schemas.microsoft.com/office/drawing/2014/main" id="{90FBF068-4072-CA48-B937-9392B1D180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008911" y="6060308"/>
            <a:ext cx="1752776" cy="333350"/>
          </a:xfrm>
          <a:prstGeom prst="rect">
            <a:avLst/>
          </a:prstGeom>
        </p:spPr>
      </p:pic>
      <p:pic>
        <p:nvPicPr>
          <p:cNvPr id="19" name="Рисунок 6">
            <a:extLst>
              <a:ext uri="{FF2B5EF4-FFF2-40B4-BE49-F238E27FC236}">
                <a16:creationId xmlns:a16="http://schemas.microsoft.com/office/drawing/2014/main" id="{D02DBE90-C9C1-A749-83A6-884398D6805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113" y="5078319"/>
            <a:ext cx="2063449" cy="1276935"/>
          </a:xfrm>
          <a:prstGeom prst="rect">
            <a:avLst/>
          </a:prstGeom>
        </p:spPr>
      </p:pic>
      <p:sp>
        <p:nvSpPr>
          <p:cNvPr id="25606" name="TextBox 6">
            <a:extLst>
              <a:ext uri="{FF2B5EF4-FFF2-40B4-BE49-F238E27FC236}">
                <a16:creationId xmlns:a16="http://schemas.microsoft.com/office/drawing/2014/main" id="{7C6C3DB7-C443-6D7A-1ACC-D1A578EA2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987" y="3749040"/>
            <a:ext cx="4679935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>
              <a:lnSpc>
                <a:spcPct val="150000"/>
              </a:lnSpc>
              <a:spcBef>
                <a:spcPct val="0"/>
              </a:spcBef>
              <a:buNone/>
            </a:pPr>
            <a:r>
              <a:rPr lang="ru-RU" altLang="ru-RU" sz="2200" b="1" dirty="0">
                <a:solidFill>
                  <a:srgbClr val="002F3B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Оргкомитет</a:t>
            </a:r>
          </a:p>
        </p:txBody>
      </p:sp>
      <p:sp>
        <p:nvSpPr>
          <p:cNvPr id="25607" name="TextBox 5">
            <a:extLst>
              <a:ext uri="{FF2B5EF4-FFF2-40B4-BE49-F238E27FC236}">
                <a16:creationId xmlns:a16="http://schemas.microsoft.com/office/drawing/2014/main" id="{27CC477F-0790-E441-10BE-5C8DDA1D7C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076" y="4123321"/>
            <a:ext cx="2751650" cy="8822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47644" lvl="1">
              <a:lnSpc>
                <a:spcPct val="100000"/>
              </a:lnSpc>
              <a:spcBef>
                <a:spcPct val="0"/>
              </a:spcBef>
              <a:buNone/>
            </a:pPr>
            <a:endParaRPr lang="ru-RU" altLang="ru-RU" sz="933" dirty="0">
              <a:latin typeface="Arial" panose="020B0604020202020204" pitchFamily="34" charset="0"/>
              <a:ea typeface="Roboto" panose="02000000000000000000" pitchFamily="2" charset="0"/>
            </a:endParaRPr>
          </a:p>
          <a:p>
            <a:pPr marL="247643" lvl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Жигалова Ирина,           </a:t>
            </a:r>
            <a:r>
              <a:rPr lang="en-US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   </a:t>
            </a:r>
          </a:p>
          <a:p>
            <a:pPr marL="247643" lvl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+7 (9</a:t>
            </a:r>
            <a:r>
              <a:rPr lang="en-US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10) 010-97-19</a:t>
            </a: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,  </a:t>
            </a:r>
            <a:r>
              <a:rPr lang="en-US" altLang="ru-RU" sz="1400" u="sng" dirty="0">
                <a:latin typeface="Arial" panose="020B0604020202020204" pitchFamily="34" charset="0"/>
                <a:ea typeface="Roboto" panose="02000000000000000000" pitchFamily="2" charset="0"/>
                <a:hlinkClick r:id="rId6" tooltip="mailto:zhigalovaia@sibur.ru"/>
              </a:rPr>
              <a:t>zhigalovaia@sibur.ru</a:t>
            </a:r>
            <a:endParaRPr lang="ru-RU" altLang="ru-RU" sz="1400" u="sng" dirty="0"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2D9E02E-05A0-78A6-858E-9D8E4265ECF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1034" y="2637835"/>
            <a:ext cx="1536768" cy="15301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E9EA6B4-17FD-CB82-34E7-D3B2E2B87FE9}"/>
              </a:ext>
            </a:extLst>
          </p:cNvPr>
          <p:cNvSpPr txBox="1"/>
          <p:nvPr/>
        </p:nvSpPr>
        <p:spPr>
          <a:xfrm>
            <a:off x="407986" y="912397"/>
            <a:ext cx="8492173" cy="2780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ct val="0"/>
              </a:spcBef>
              <a:spcAft>
                <a:spcPts val="800"/>
              </a:spcAft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Для обеспечения коммуникации и своевременного информирования участников Форума создан </a:t>
            </a:r>
            <a:r>
              <a:rPr lang="ru-RU" sz="1400" b="1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чат-бот, </a:t>
            </a: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который:</a:t>
            </a:r>
          </a:p>
          <a:p>
            <a:pPr marL="380990" lvl="1" indent="-380990">
              <a:spcBef>
                <a:spcPct val="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направляет «</a:t>
            </a:r>
            <a:r>
              <a:rPr lang="ru-RU" sz="1400" dirty="0" err="1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напоминалки</a:t>
            </a: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» о ключевых событиях, новостях</a:t>
            </a:r>
          </a:p>
          <a:p>
            <a:pPr marL="380990" lvl="1" indent="-380990">
              <a:spcBef>
                <a:spcPct val="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дает доступ ко всем необходимым материалам (правила, шаблон 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презентации проекта</a:t>
            </a: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, программа регионального этапа, </a:t>
            </a: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п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амятки 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по индексам </a:t>
            </a: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и пр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.)</a:t>
            </a:r>
          </a:p>
          <a:p>
            <a:pPr marL="380990" lvl="1" indent="-380990">
              <a:spcBef>
                <a:spcPct val="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помогает в работе над проектом (креативное название, формулировки тезисов, проверка данных и 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др.)</a:t>
            </a:r>
            <a:endParaRPr lang="ru-RU" sz="1400" dirty="0" smtClean="0">
              <a:solidFill>
                <a:srgbClr val="00313C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380990" lvl="1" indent="-380990">
              <a:spcBef>
                <a:spcPct val="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возможность обмениваться фото и видео ссылками</a:t>
            </a:r>
          </a:p>
          <a:p>
            <a:pPr marL="380990" lvl="1" indent="-380990">
              <a:spcBef>
                <a:spcPct val="0"/>
              </a:spcBef>
              <a:buClr>
                <a:srgbClr val="009999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создает полезные знакомства между </a:t>
            </a:r>
            <a:r>
              <a:rPr lang="ru-RU" sz="1400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участниками (Рандом кофе)</a:t>
            </a:r>
            <a:endParaRPr lang="ru-RU" sz="1400" dirty="0">
              <a:solidFill>
                <a:srgbClr val="00313C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lvl="1">
              <a:spcBef>
                <a:spcPct val="0"/>
              </a:spcBef>
            </a:pPr>
            <a:endParaRPr lang="ru-RU" sz="1400" dirty="0">
              <a:solidFill>
                <a:srgbClr val="00313C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lvl="1">
              <a:spcBef>
                <a:spcPct val="0"/>
              </a:spcBef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Также, в чат-боте реализована функция </a:t>
            </a:r>
            <a:r>
              <a:rPr lang="ru-RU" sz="1400" b="1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отправки вопросов куратору регионального </a:t>
            </a:r>
            <a:r>
              <a:rPr lang="ru-RU" sz="1400" b="1" dirty="0" smtClean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этапа </a:t>
            </a:r>
            <a:endParaRPr lang="en-US" sz="1400" b="1" dirty="0">
              <a:solidFill>
                <a:srgbClr val="00313C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  <a:p>
            <a:pPr marL="0" lvl="1">
              <a:spcBef>
                <a:spcPct val="0"/>
              </a:spcBef>
            </a:pPr>
            <a:r>
              <a:rPr lang="ru-RU" sz="1400" dirty="0">
                <a:solidFill>
                  <a:srgbClr val="00313C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Все вопросы будут автоматически направляться в чат </a:t>
            </a:r>
            <a:r>
              <a:rPr lang="ru-RU" sz="1400" dirty="0">
                <a:solidFill>
                  <a:srgbClr val="008D97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Форума </a:t>
            </a:r>
            <a:r>
              <a:rPr lang="ru-RU" sz="1400" dirty="0" smtClean="0">
                <a:solidFill>
                  <a:srgbClr val="008D97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молодых специалистов</a:t>
            </a:r>
            <a:endParaRPr lang="ru-RU" sz="1400" dirty="0">
              <a:solidFill>
                <a:srgbClr val="00313C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B22588C-3525-D325-38E7-C491349F891A}"/>
              </a:ext>
            </a:extLst>
          </p:cNvPr>
          <p:cNvSpPr/>
          <p:nvPr/>
        </p:nvSpPr>
        <p:spPr bwMode="auto">
          <a:xfrm>
            <a:off x="9216384" y="4275201"/>
            <a:ext cx="2106068" cy="442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anchor="t"/>
          <a:lstStyle/>
          <a:p>
            <a:pPr algn="ctr">
              <a:defRPr/>
            </a:pPr>
            <a:r>
              <a:rPr lang="en-US" sz="1200" b="1" kern="0" dirty="0">
                <a:solidFill>
                  <a:srgbClr val="002F3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QR</a:t>
            </a:r>
            <a:r>
              <a:rPr lang="ru-RU" sz="1200" b="1" kern="0" dirty="0">
                <a:solidFill>
                  <a:srgbClr val="002F3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-код на </a:t>
            </a:r>
            <a:r>
              <a:rPr lang="ru-RU" sz="1200" b="1" kern="0" dirty="0" smtClean="0">
                <a:solidFill>
                  <a:srgbClr val="002F3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Те</a:t>
            </a:r>
            <a:r>
              <a:rPr lang="en-US" sz="1200" b="1" kern="0" dirty="0" err="1" smtClean="0">
                <a:solidFill>
                  <a:srgbClr val="002F3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egram</a:t>
            </a:r>
            <a:r>
              <a:rPr lang="ru-RU" sz="1200" b="1" kern="0" dirty="0" smtClean="0">
                <a:solidFill>
                  <a:srgbClr val="002F3A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-бота</a:t>
            </a:r>
            <a:endParaRPr lang="ru-RU" sz="1200" kern="0" dirty="0">
              <a:solidFill>
                <a:srgbClr val="002F3A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5" name="TextBox 6">
            <a:extLst>
              <a:ext uri="{FF2B5EF4-FFF2-40B4-BE49-F238E27FC236}">
                <a16:creationId xmlns:a16="http://schemas.microsoft.com/office/drawing/2014/main" id="{7C6C3DB7-C443-6D7A-1ACC-D1A578EA2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7986" y="-75387"/>
            <a:ext cx="7725986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>
              <a:lnSpc>
                <a:spcPct val="150000"/>
              </a:lnSpc>
              <a:spcBef>
                <a:spcPct val="0"/>
              </a:spcBef>
              <a:buNone/>
            </a:pPr>
            <a:r>
              <a:rPr lang="ru-RU" altLang="ru-RU" sz="3800" b="1" dirty="0">
                <a:solidFill>
                  <a:srgbClr val="006077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Подключай</a:t>
            </a:r>
            <a:r>
              <a:rPr lang="ru-RU" altLang="ru-RU" sz="3800" b="1" dirty="0">
                <a:solidFill>
                  <a:srgbClr val="002F3B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 </a:t>
            </a:r>
            <a:r>
              <a:rPr lang="en-US" altLang="ru-RU" sz="3800" b="1" dirty="0" smtClean="0">
                <a:solidFill>
                  <a:srgbClr val="E14E39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«</a:t>
            </a:r>
            <a:r>
              <a:rPr lang="ru-RU" altLang="ru-RU" sz="3800" b="1" dirty="0" smtClean="0">
                <a:solidFill>
                  <a:srgbClr val="E14E39"/>
                </a:solidFill>
                <a:latin typeface="Arial" panose="020B0604020202020204" pitchFamily="34" charset="0"/>
                <a:ea typeface="Roboto" panose="02000000000000000000" pitchFamily="2" charset="0"/>
              </a:rPr>
              <a:t>Менделеева»</a:t>
            </a:r>
            <a:endParaRPr lang="ru-RU" altLang="ru-RU" sz="3800" b="1" dirty="0">
              <a:solidFill>
                <a:srgbClr val="E14E39"/>
              </a:solidFill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99DA90CF-DA8F-4241-BEA5-1017674773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98129" y="4123321"/>
            <a:ext cx="3588051" cy="8822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47644" lvl="1">
              <a:lnSpc>
                <a:spcPct val="100000"/>
              </a:lnSpc>
              <a:spcBef>
                <a:spcPct val="0"/>
              </a:spcBef>
              <a:buNone/>
            </a:pPr>
            <a:endParaRPr lang="ru-RU" altLang="ru-RU" sz="933" dirty="0">
              <a:latin typeface="Arial" panose="020B0604020202020204" pitchFamily="34" charset="0"/>
              <a:ea typeface="Roboto" panose="02000000000000000000" pitchFamily="2" charset="0"/>
            </a:endParaRPr>
          </a:p>
          <a:p>
            <a:pPr marL="247643" lvl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Толмачева Ольга, </a:t>
            </a:r>
            <a:r>
              <a:rPr lang="en-US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            </a:t>
            </a:r>
          </a:p>
          <a:p>
            <a:pPr marL="247643" lvl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+7</a:t>
            </a:r>
            <a:r>
              <a:rPr lang="en-US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 </a:t>
            </a:r>
            <a:r>
              <a:rPr lang="ru-RU" altLang="ru-RU" sz="1400" dirty="0">
                <a:latin typeface="Arial" panose="020B0604020202020204" pitchFamily="34" charset="0"/>
                <a:ea typeface="Roboto" panose="02000000000000000000" pitchFamily="2" charset="0"/>
              </a:rPr>
              <a:t>(919) 764-38-69, </a:t>
            </a:r>
            <a:r>
              <a:rPr lang="en-US" altLang="ru-RU" sz="1400" u="sng" dirty="0">
                <a:latin typeface="Arial" panose="020B0604020202020204" pitchFamily="34" charset="0"/>
                <a:ea typeface="Roboto" panose="02000000000000000000" pitchFamily="2" charset="0"/>
                <a:hlinkClick r:id="rId8" tooltip="mailto:TolmachevaOV@sibur.ru"/>
              </a:rPr>
              <a:t>tolmachevaov@sibur.ru</a:t>
            </a:r>
            <a:endParaRPr lang="en-US" altLang="ru-RU" sz="1400" dirty="0">
              <a:latin typeface="Arial" panose="020B0604020202020204" pitchFamily="34" charset="0"/>
              <a:ea typeface="Roboto" panose="02000000000000000000" pitchFamily="2" charset="0"/>
            </a:endParaRPr>
          </a:p>
        </p:txBody>
      </p:sp>
      <p:sp>
        <p:nvSpPr>
          <p:cNvPr id="20" name="Прямоугольник 16">
            <a:extLst>
              <a:ext uri="{FF2B5EF4-FFF2-40B4-BE49-F238E27FC236}">
                <a16:creationId xmlns:a16="http://schemas.microsoft.com/office/drawing/2014/main" id="{14D152F1-DC22-784B-B0FE-E960CE3CC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Arial" panose="020B0604020202020204" pitchFamily="34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Arial" panose="020B0604020202020204" pitchFamily="34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Arial" panose="020B0604020202020204" pitchFamily="34" charset="0"/>
              </a:rPr>
              <a:t>10</a:t>
            </a:r>
            <a:endParaRPr lang="ru-RU" altLang="ru-RU" sz="900" b="1" dirty="0">
              <a:solidFill>
                <a:srgbClr val="002F3B"/>
              </a:solidFill>
              <a:latin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83930" y="167910"/>
            <a:ext cx="2370976" cy="236101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958717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685F0E-1289-46A0-95CF-869C0B0A6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1" y="-18191"/>
            <a:ext cx="10972800" cy="853326"/>
          </a:xfrm>
        </p:spPr>
        <p:txBody>
          <a:bodyPr>
            <a:normAutofit/>
          </a:bodyPr>
          <a:lstStyle/>
          <a:p>
            <a:pPr algn="l"/>
            <a:r>
              <a:rPr lang="ru-RU" sz="38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Цели и задачи Форума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3662962-D44E-444E-9043-90A69788B9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558354"/>
            <a:ext cx="12192000" cy="229964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BFA2A8A-6A8F-4E22-9AAE-96FBAEE42B2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008911" y="6060308"/>
            <a:ext cx="1752776" cy="333350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A814DF17-AE42-43DA-9A95-32FCC4B5A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320" y="1369899"/>
            <a:ext cx="381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Цель:</a:t>
            </a:r>
          </a:p>
        </p:txBody>
      </p:sp>
      <p:sp>
        <p:nvSpPr>
          <p:cNvPr id="7" name="TextBox 10">
            <a:extLst>
              <a:ext uri="{FF2B5EF4-FFF2-40B4-BE49-F238E27FC236}">
                <a16:creationId xmlns:a16="http://schemas.microsoft.com/office/drawing/2014/main" id="{135981A2-3F5E-49EA-8651-8F06E4AA45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53071" y="1358303"/>
            <a:ext cx="6804946" cy="2844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Задачи Форума: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+mn-lt"/>
              <a:ea typeface="Roboto" panose="02000000000000000000" pitchFamily="2" charset="0"/>
            </a:endParaRPr>
          </a:p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азвитие культуры технологического лидерства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у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молодых специалистов (МС), раскрытие потенциала</a:t>
            </a:r>
            <a:r>
              <a:rPr lang="en-US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для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дальнейшего роста в Компании</a:t>
            </a:r>
          </a:p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Выстраивание коммуникации МС, руководителей, экспертов, помощь в подготовке к представлению разработанных технических решений</a:t>
            </a:r>
          </a:p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Эффективная интеграция в команды и корпоративную культуру, обеспечение высокого уровня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мотивации</a:t>
            </a:r>
            <a:r>
              <a:rPr lang="en-US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и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вовлеченности</a:t>
            </a:r>
            <a:endParaRPr lang="ru-RU" altLang="ru-RU" sz="160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8" name="Прямоугольник 16">
            <a:extLst>
              <a:ext uri="{FF2B5EF4-FFF2-40B4-BE49-F238E27FC236}">
                <a16:creationId xmlns:a16="http://schemas.microsoft.com/office/drawing/2014/main" id="{D2D1942D-C50E-9B4C-934E-10A02239CB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8076C3DC-3134-3E43-AFA3-58DEC23EF7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320" y="1725070"/>
            <a:ext cx="3637280" cy="186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algn="just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вовлечение талантливой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молодежи в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ланы по развитию компании, формирование осознанного отношения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к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аботе и достижению результатов через постоянное развитие</a:t>
            </a:r>
            <a:endParaRPr kumimoji="0" lang="ru-RU" altLang="ru-RU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6">
            <a:extLst>
              <a:ext uri="{FF2B5EF4-FFF2-40B4-BE49-F238E27FC236}">
                <a16:creationId xmlns:a16="http://schemas.microsoft.com/office/drawing/2014/main" id="{CD940E5D-1F2A-3F4C-8F91-0AD12A1AD7F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1" y="4982344"/>
            <a:ext cx="2124775" cy="131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61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9BE50A7-A00D-4C9C-AFB1-97B75C57296B}"/>
              </a:ext>
            </a:extLst>
          </p:cNvPr>
          <p:cNvSpPr txBox="1">
            <a:spLocks/>
          </p:cNvSpPr>
          <p:nvPr/>
        </p:nvSpPr>
        <p:spPr>
          <a:xfrm>
            <a:off x="396494" y="1563744"/>
            <a:ext cx="2996945" cy="1089529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72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2023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27552A95-7ABD-4CC2-9480-BD085BABF5E9}"/>
              </a:ext>
            </a:extLst>
          </p:cNvPr>
          <p:cNvSpPr txBox="1">
            <a:spLocks/>
          </p:cNvSpPr>
          <p:nvPr/>
        </p:nvSpPr>
        <p:spPr>
          <a:xfrm>
            <a:off x="396494" y="2861551"/>
            <a:ext cx="2996945" cy="840230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2022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1AFA4756-B74A-419A-8EA6-3ED754FF9F77}"/>
              </a:ext>
            </a:extLst>
          </p:cNvPr>
          <p:cNvSpPr txBox="1">
            <a:spLocks/>
          </p:cNvSpPr>
          <p:nvPr/>
        </p:nvSpPr>
        <p:spPr>
          <a:xfrm>
            <a:off x="396494" y="3887711"/>
            <a:ext cx="2996945" cy="7017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2021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7249360-C164-4583-BF5C-EF3375A7C2DD}"/>
              </a:ext>
            </a:extLst>
          </p:cNvPr>
          <p:cNvCxnSpPr>
            <a:cxnSpLocks/>
          </p:cNvCxnSpPr>
          <p:nvPr/>
        </p:nvCxnSpPr>
        <p:spPr>
          <a:xfrm>
            <a:off x="487934" y="2718703"/>
            <a:ext cx="2088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F9861678-D5D1-4D72-BFA6-B65C69FC1F37}"/>
              </a:ext>
            </a:extLst>
          </p:cNvPr>
          <p:cNvCxnSpPr>
            <a:cxnSpLocks/>
          </p:cNvCxnSpPr>
          <p:nvPr/>
        </p:nvCxnSpPr>
        <p:spPr>
          <a:xfrm>
            <a:off x="487934" y="3737988"/>
            <a:ext cx="2088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8B6464A-FE54-4F64-B80D-06F22AE207BA}"/>
              </a:ext>
            </a:extLst>
          </p:cNvPr>
          <p:cNvSpPr txBox="1">
            <a:spLocks/>
          </p:cNvSpPr>
          <p:nvPr/>
        </p:nvSpPr>
        <p:spPr>
          <a:xfrm>
            <a:off x="3506399" y="1768725"/>
            <a:ext cx="2996945" cy="840230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562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0E9C0BF-C821-4F33-BCD5-04F8C00A31C2}"/>
              </a:ext>
            </a:extLst>
          </p:cNvPr>
          <p:cNvSpPr txBox="1">
            <a:spLocks/>
          </p:cNvSpPr>
          <p:nvPr/>
        </p:nvSpPr>
        <p:spPr>
          <a:xfrm>
            <a:off x="3506399" y="2926132"/>
            <a:ext cx="2996945" cy="6463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495</a:t>
            </a: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AB3E78EB-35D7-48AB-92A9-2505E74F0840}"/>
              </a:ext>
            </a:extLst>
          </p:cNvPr>
          <p:cNvSpPr txBox="1">
            <a:spLocks/>
          </p:cNvSpPr>
          <p:nvPr/>
        </p:nvSpPr>
        <p:spPr>
          <a:xfrm>
            <a:off x="3506399" y="3952292"/>
            <a:ext cx="2996945" cy="5355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295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6CDAC45A-8A8D-45A3-9383-86CF66499B07}"/>
              </a:ext>
            </a:extLst>
          </p:cNvPr>
          <p:cNvSpPr txBox="1">
            <a:spLocks/>
          </p:cNvSpPr>
          <p:nvPr/>
        </p:nvSpPr>
        <p:spPr>
          <a:xfrm>
            <a:off x="5519716" y="1768725"/>
            <a:ext cx="1137920" cy="84023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18</a:t>
            </a:r>
          </a:p>
        </p:txBody>
      </p: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2B357F80-91EB-4D3D-8390-8C4BBF571E42}"/>
              </a:ext>
            </a:extLst>
          </p:cNvPr>
          <p:cNvSpPr txBox="1">
            <a:spLocks/>
          </p:cNvSpPr>
          <p:nvPr/>
        </p:nvSpPr>
        <p:spPr>
          <a:xfrm>
            <a:off x="5519716" y="2926132"/>
            <a:ext cx="1137920" cy="6463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16</a:t>
            </a:r>
          </a:p>
        </p:txBody>
      </p:sp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0AC0AE0B-46E0-4E5F-BA5C-A2D2CCFF15AA}"/>
              </a:ext>
            </a:extLst>
          </p:cNvPr>
          <p:cNvSpPr txBox="1">
            <a:spLocks/>
          </p:cNvSpPr>
          <p:nvPr/>
        </p:nvSpPr>
        <p:spPr>
          <a:xfrm>
            <a:off x="5519716" y="3952292"/>
            <a:ext cx="1137920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11</a:t>
            </a: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DF5CDCC-98EA-4786-98A9-7165F5E9AA1C}"/>
              </a:ext>
            </a:extLst>
          </p:cNvPr>
          <p:cNvSpPr txBox="1">
            <a:spLocks/>
          </p:cNvSpPr>
          <p:nvPr/>
        </p:nvSpPr>
        <p:spPr>
          <a:xfrm>
            <a:off x="7514382" y="1768725"/>
            <a:ext cx="1440000" cy="84023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113</a:t>
            </a:r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4DB98995-DFA0-447F-9D7C-78FC594F269A}"/>
              </a:ext>
            </a:extLst>
          </p:cNvPr>
          <p:cNvSpPr txBox="1">
            <a:spLocks/>
          </p:cNvSpPr>
          <p:nvPr/>
        </p:nvSpPr>
        <p:spPr>
          <a:xfrm>
            <a:off x="7514383" y="2926132"/>
            <a:ext cx="1440000" cy="6463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99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F3FF0C7F-35FA-4503-AD85-0FA20325A711}"/>
              </a:ext>
            </a:extLst>
          </p:cNvPr>
          <p:cNvSpPr txBox="1">
            <a:spLocks/>
          </p:cNvSpPr>
          <p:nvPr/>
        </p:nvSpPr>
        <p:spPr>
          <a:xfrm>
            <a:off x="7514383" y="3952292"/>
            <a:ext cx="1440000" cy="5355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002F3A"/>
                </a:solidFill>
                <a:latin typeface="+mn-lt"/>
                <a:ea typeface="Roboto" panose="02000000000000000000" pitchFamily="2" charset="0"/>
              </a:rPr>
              <a:t>7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EF9846-C369-4096-A2D2-642D8BD875B0}"/>
              </a:ext>
            </a:extLst>
          </p:cNvPr>
          <p:cNvSpPr txBox="1"/>
          <p:nvPr/>
        </p:nvSpPr>
        <p:spPr>
          <a:xfrm>
            <a:off x="3506400" y="1292205"/>
            <a:ext cx="14399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F3A"/>
                </a:solidFill>
                <a:ea typeface="Roboto Light" panose="02000000000000000000" pitchFamily="2" charset="0"/>
              </a:rPr>
              <a:t>Молодых</a:t>
            </a:r>
          </a:p>
          <a:p>
            <a:r>
              <a:rPr lang="ru-RU" sz="1200" dirty="0">
                <a:solidFill>
                  <a:srgbClr val="002F3A"/>
                </a:solidFill>
                <a:ea typeface="Roboto Light" panose="02000000000000000000" pitchFamily="2" charset="0"/>
              </a:rPr>
              <a:t>специалистов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DB8AF37-3957-40A7-8FBA-135FCA017827}"/>
              </a:ext>
            </a:extLst>
          </p:cNvPr>
          <p:cNvSpPr txBox="1"/>
          <p:nvPr/>
        </p:nvSpPr>
        <p:spPr>
          <a:xfrm>
            <a:off x="5519716" y="1292205"/>
            <a:ext cx="309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F3A"/>
                </a:solidFill>
                <a:ea typeface="Roboto Light" panose="02000000000000000000" pitchFamily="2" charset="0"/>
              </a:rPr>
              <a:t>Предприятий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3957670-9FF3-49BC-A21A-F555CB49B277}"/>
              </a:ext>
            </a:extLst>
          </p:cNvPr>
          <p:cNvSpPr txBox="1"/>
          <p:nvPr/>
        </p:nvSpPr>
        <p:spPr>
          <a:xfrm>
            <a:off x="7514382" y="1292205"/>
            <a:ext cx="30988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F3A"/>
                </a:solidFill>
                <a:ea typeface="Roboto Light" panose="02000000000000000000" pitchFamily="2" charset="0"/>
              </a:rPr>
              <a:t>Проектов</a:t>
            </a:r>
          </a:p>
        </p:txBody>
      </p: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E5C9EF29-AF91-49F3-BCF2-284169F3CB6D}"/>
              </a:ext>
            </a:extLst>
          </p:cNvPr>
          <p:cNvCxnSpPr>
            <a:cxnSpLocks/>
          </p:cNvCxnSpPr>
          <p:nvPr/>
        </p:nvCxnSpPr>
        <p:spPr>
          <a:xfrm>
            <a:off x="3506399" y="2718703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93AAAB47-0AB0-4BCA-B5A8-60EDB2A9ACF4}"/>
              </a:ext>
            </a:extLst>
          </p:cNvPr>
          <p:cNvCxnSpPr>
            <a:cxnSpLocks/>
          </p:cNvCxnSpPr>
          <p:nvPr/>
        </p:nvCxnSpPr>
        <p:spPr>
          <a:xfrm>
            <a:off x="3506399" y="3737988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29C8FDF5-DD51-4FBF-8FAD-56B878F0E347}"/>
              </a:ext>
            </a:extLst>
          </p:cNvPr>
          <p:cNvCxnSpPr>
            <a:cxnSpLocks/>
          </p:cNvCxnSpPr>
          <p:nvPr/>
        </p:nvCxnSpPr>
        <p:spPr>
          <a:xfrm>
            <a:off x="5519716" y="2718703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1104449D-7FD2-4151-92B5-ED1B12903AF1}"/>
              </a:ext>
            </a:extLst>
          </p:cNvPr>
          <p:cNvCxnSpPr>
            <a:cxnSpLocks/>
          </p:cNvCxnSpPr>
          <p:nvPr/>
        </p:nvCxnSpPr>
        <p:spPr>
          <a:xfrm>
            <a:off x="5519716" y="3737988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32655388-EC4A-43BE-9A96-A6C68B4E278B}"/>
              </a:ext>
            </a:extLst>
          </p:cNvPr>
          <p:cNvCxnSpPr>
            <a:cxnSpLocks/>
          </p:cNvCxnSpPr>
          <p:nvPr/>
        </p:nvCxnSpPr>
        <p:spPr>
          <a:xfrm>
            <a:off x="7514382" y="2718703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33DFDBD6-C591-4A2F-BE7F-8412F865DF53}"/>
              </a:ext>
            </a:extLst>
          </p:cNvPr>
          <p:cNvCxnSpPr>
            <a:cxnSpLocks/>
          </p:cNvCxnSpPr>
          <p:nvPr/>
        </p:nvCxnSpPr>
        <p:spPr>
          <a:xfrm>
            <a:off x="7514382" y="3737988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DE3CE2E6-109F-3849-A7E7-79F5B96B9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494" y="-8741"/>
            <a:ext cx="10972800" cy="913975"/>
          </a:xfrm>
        </p:spPr>
        <p:txBody>
          <a:bodyPr>
            <a:normAutofit/>
          </a:bodyPr>
          <a:lstStyle/>
          <a:p>
            <a:pPr algn="l"/>
            <a:r>
              <a:rPr lang="ru-RU" sz="3800" b="1" dirty="0" smtClean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Форум </a:t>
            </a:r>
            <a:r>
              <a:rPr lang="ru-RU" sz="3800" b="1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в </a:t>
            </a:r>
            <a:r>
              <a:rPr lang="ru-RU" sz="3800" b="1" dirty="0" smtClean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цифрах </a:t>
            </a:r>
            <a:endParaRPr lang="ru-RU" sz="3800" b="1" dirty="0">
              <a:solidFill>
                <a:srgbClr val="006077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38" name="Прямоугольник 16">
            <a:extLst>
              <a:ext uri="{FF2B5EF4-FFF2-40B4-BE49-F238E27FC236}">
                <a16:creationId xmlns:a16="http://schemas.microsoft.com/office/drawing/2014/main" id="{76480D75-42B2-3143-AA00-D2FB9CF7CD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3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99" name="Заголовок 1">
            <a:extLst>
              <a:ext uri="{FF2B5EF4-FFF2-40B4-BE49-F238E27FC236}">
                <a16:creationId xmlns:a16="http://schemas.microsoft.com/office/drawing/2014/main" id="{5D608732-20EF-7143-AC1F-068B9303D838}"/>
              </a:ext>
            </a:extLst>
          </p:cNvPr>
          <p:cNvSpPr txBox="1">
            <a:spLocks/>
          </p:cNvSpPr>
          <p:nvPr/>
        </p:nvSpPr>
        <p:spPr>
          <a:xfrm>
            <a:off x="9512943" y="1768725"/>
            <a:ext cx="1855130" cy="84023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b="1" dirty="0" smtClean="0">
                <a:solidFill>
                  <a:srgbClr val="009999"/>
                </a:solidFill>
                <a:latin typeface="+mn-lt"/>
                <a:ea typeface="Roboto" panose="02000000000000000000" pitchFamily="2" charset="0"/>
              </a:rPr>
              <a:t>52</a:t>
            </a:r>
            <a:r>
              <a:rPr lang="ru-RU" sz="5400" b="1" dirty="0" smtClean="0">
                <a:solidFill>
                  <a:srgbClr val="009999"/>
                </a:solidFill>
                <a:latin typeface="+mn-lt"/>
                <a:ea typeface="Roboto" panose="02000000000000000000" pitchFamily="2" charset="0"/>
              </a:rPr>
              <a:t>%</a:t>
            </a:r>
            <a:endParaRPr lang="ru-RU" sz="5400" b="1" dirty="0">
              <a:solidFill>
                <a:srgbClr val="009999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100" name="Заголовок 1">
            <a:extLst>
              <a:ext uri="{FF2B5EF4-FFF2-40B4-BE49-F238E27FC236}">
                <a16:creationId xmlns:a16="http://schemas.microsoft.com/office/drawing/2014/main" id="{48325DC7-866C-2045-B2BB-FCD8ECC68C4A}"/>
              </a:ext>
            </a:extLst>
          </p:cNvPr>
          <p:cNvSpPr txBox="1">
            <a:spLocks/>
          </p:cNvSpPr>
          <p:nvPr/>
        </p:nvSpPr>
        <p:spPr>
          <a:xfrm>
            <a:off x="9521908" y="2926132"/>
            <a:ext cx="2996945" cy="6463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009999"/>
                </a:solidFill>
                <a:latin typeface="+mn-lt"/>
                <a:ea typeface="Roboto" panose="02000000000000000000" pitchFamily="2" charset="0"/>
              </a:rPr>
              <a:t>34%</a:t>
            </a:r>
            <a:endParaRPr lang="ru-RU" sz="4000" b="1" dirty="0">
              <a:solidFill>
                <a:srgbClr val="009999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101" name="Заголовок 1">
            <a:extLst>
              <a:ext uri="{FF2B5EF4-FFF2-40B4-BE49-F238E27FC236}">
                <a16:creationId xmlns:a16="http://schemas.microsoft.com/office/drawing/2014/main" id="{8D97803B-15B0-FA4F-971E-E483B6F13EE4}"/>
              </a:ext>
            </a:extLst>
          </p:cNvPr>
          <p:cNvSpPr txBox="1">
            <a:spLocks/>
          </p:cNvSpPr>
          <p:nvPr/>
        </p:nvSpPr>
        <p:spPr>
          <a:xfrm>
            <a:off x="9521908" y="3952292"/>
            <a:ext cx="2996945" cy="535531"/>
          </a:xfrm>
          <a:prstGeom prst="rect">
            <a:avLst/>
          </a:prstGeom>
        </p:spPr>
        <p:txBody>
          <a:bodyPr vert="horz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rgbClr val="009999"/>
                </a:solidFill>
                <a:latin typeface="+mn-lt"/>
                <a:ea typeface="Roboto" panose="02000000000000000000" pitchFamily="2" charset="0"/>
              </a:rPr>
              <a:t>8%</a:t>
            </a:r>
            <a:endParaRPr lang="ru-RU" sz="3200" b="1" dirty="0">
              <a:solidFill>
                <a:srgbClr val="009999"/>
              </a:solidFill>
              <a:latin typeface="+mn-lt"/>
              <a:ea typeface="Roboto" panose="02000000000000000000" pitchFamily="2" charset="0"/>
            </a:endParaRPr>
          </a:p>
        </p:txBody>
      </p:sp>
      <p:cxnSp>
        <p:nvCxnSpPr>
          <p:cNvPr id="103" name="Прямая соединительная линия 66">
            <a:extLst>
              <a:ext uri="{FF2B5EF4-FFF2-40B4-BE49-F238E27FC236}">
                <a16:creationId xmlns:a16="http://schemas.microsoft.com/office/drawing/2014/main" id="{FE6E1E23-1815-364E-B671-19D310251404}"/>
              </a:ext>
            </a:extLst>
          </p:cNvPr>
          <p:cNvCxnSpPr>
            <a:cxnSpLocks/>
          </p:cNvCxnSpPr>
          <p:nvPr/>
        </p:nvCxnSpPr>
        <p:spPr>
          <a:xfrm>
            <a:off x="9512943" y="2718703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67">
            <a:extLst>
              <a:ext uri="{FF2B5EF4-FFF2-40B4-BE49-F238E27FC236}">
                <a16:creationId xmlns:a16="http://schemas.microsoft.com/office/drawing/2014/main" id="{A2FF30B3-90C1-0647-979B-43D41017C64A}"/>
              </a:ext>
            </a:extLst>
          </p:cNvPr>
          <p:cNvCxnSpPr>
            <a:cxnSpLocks/>
          </p:cNvCxnSpPr>
          <p:nvPr/>
        </p:nvCxnSpPr>
        <p:spPr>
          <a:xfrm>
            <a:off x="9512943" y="3737988"/>
            <a:ext cx="1440000" cy="0"/>
          </a:xfrm>
          <a:prstGeom prst="line">
            <a:avLst/>
          </a:prstGeom>
          <a:ln w="9525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2842286-80A5-0848-BA58-9D9C80E076CD}"/>
              </a:ext>
            </a:extLst>
          </p:cNvPr>
          <p:cNvSpPr txBox="1"/>
          <p:nvPr/>
        </p:nvSpPr>
        <p:spPr>
          <a:xfrm>
            <a:off x="9512943" y="1292205"/>
            <a:ext cx="1907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009999"/>
                </a:solidFill>
                <a:ea typeface="Roboto Light" panose="02000000000000000000" pitchFamily="2" charset="0"/>
              </a:rPr>
              <a:t>Проектов реализованы/ в процессе реализации</a:t>
            </a:r>
          </a:p>
          <a:p>
            <a:endParaRPr lang="en-RU" sz="1200" dirty="0">
              <a:solidFill>
                <a:srgbClr val="009999"/>
              </a:solidFill>
              <a:ea typeface="Roboto Light" panose="02000000000000000000" pitchFamily="2" charset="0"/>
            </a:endParaRPr>
          </a:p>
        </p:txBody>
      </p:sp>
      <p:pic>
        <p:nvPicPr>
          <p:cNvPr id="105" name="Рисунок 2">
            <a:extLst>
              <a:ext uri="{FF2B5EF4-FFF2-40B4-BE49-F238E27FC236}">
                <a16:creationId xmlns:a16="http://schemas.microsoft.com/office/drawing/2014/main" id="{C36EAC8F-73B5-FC4C-8727-644397BCA38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721064"/>
            <a:ext cx="12192000" cy="2136935"/>
          </a:xfrm>
          <a:prstGeom prst="rect">
            <a:avLst/>
          </a:prstGeom>
        </p:spPr>
      </p:pic>
      <p:pic>
        <p:nvPicPr>
          <p:cNvPr id="106" name="Рисунок 3">
            <a:extLst>
              <a:ext uri="{FF2B5EF4-FFF2-40B4-BE49-F238E27FC236}">
                <a16:creationId xmlns:a16="http://schemas.microsoft.com/office/drawing/2014/main" id="{E42DBCDF-FBFC-8044-B463-7594FCCA23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0008911" y="6060308"/>
            <a:ext cx="1752776" cy="333350"/>
          </a:xfrm>
          <a:prstGeom prst="rect">
            <a:avLst/>
          </a:prstGeom>
        </p:spPr>
      </p:pic>
      <p:pic>
        <p:nvPicPr>
          <p:cNvPr id="108" name="Рисунок 6">
            <a:extLst>
              <a:ext uri="{FF2B5EF4-FFF2-40B4-BE49-F238E27FC236}">
                <a16:creationId xmlns:a16="http://schemas.microsoft.com/office/drawing/2014/main" id="{7A73BF1A-0E2D-4D49-A288-95444938C22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494" y="5065673"/>
            <a:ext cx="2063449" cy="127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807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6459576" y="4385326"/>
            <a:ext cx="463578" cy="467198"/>
          </a:xfrm>
          <a:prstGeom prst="rect">
            <a:avLst/>
          </a:prstGeom>
          <a:solidFill>
            <a:srgbClr val="77E2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25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6459576" y="3002341"/>
            <a:ext cx="463578" cy="467198"/>
          </a:xfrm>
          <a:prstGeom prst="rect">
            <a:avLst/>
          </a:prstGeom>
          <a:solidFill>
            <a:srgbClr val="77E2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25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6459576" y="1233517"/>
            <a:ext cx="463578" cy="467198"/>
          </a:xfrm>
          <a:prstGeom prst="rect">
            <a:avLst/>
          </a:prstGeom>
          <a:solidFill>
            <a:srgbClr val="77E2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25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507790" y="4385326"/>
            <a:ext cx="463578" cy="467198"/>
          </a:xfrm>
          <a:prstGeom prst="rect">
            <a:avLst/>
          </a:prstGeom>
          <a:solidFill>
            <a:srgbClr val="77E2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25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498266" y="1265204"/>
            <a:ext cx="463578" cy="467198"/>
          </a:xfrm>
          <a:prstGeom prst="rect">
            <a:avLst/>
          </a:prstGeom>
          <a:solidFill>
            <a:srgbClr val="77E2C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25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Заголовок 1">
            <a:extLst>
              <a:ext uri="{FF2B5EF4-FFF2-40B4-BE49-F238E27FC236}">
                <a16:creationId xmlns:a16="http://schemas.microsoft.com/office/drawing/2014/main" id="{1A685F0E-1289-46A0-95CF-869C0B0A650E}"/>
              </a:ext>
            </a:extLst>
          </p:cNvPr>
          <p:cNvSpPr txBox="1">
            <a:spLocks/>
          </p:cNvSpPr>
          <p:nvPr/>
        </p:nvSpPr>
        <p:spPr>
          <a:xfrm>
            <a:off x="381000" y="0"/>
            <a:ext cx="10972800" cy="863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ru-RU" sz="3800" b="1" kern="0" dirty="0" smtClean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Направления проектов 2024</a:t>
            </a:r>
            <a:endParaRPr lang="ru-RU" sz="3800" b="1" kern="0" dirty="0">
              <a:solidFill>
                <a:srgbClr val="E14E39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54" name="Прямоугольник 16">
            <a:extLst>
              <a:ext uri="{FF2B5EF4-FFF2-40B4-BE49-F238E27FC236}">
                <a16:creationId xmlns:a16="http://schemas.microsoft.com/office/drawing/2014/main" id="{D2D1942D-C50E-9B4C-934E-10A02239CB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4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55" name="TextBox 10">
            <a:extLst>
              <a:ext uri="{FF2B5EF4-FFF2-40B4-BE49-F238E27FC236}">
                <a16:creationId xmlns:a16="http://schemas.microsoft.com/office/drawing/2014/main" id="{4F4B5DDF-F3F1-5743-B2C7-2C8147765E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551" y="1247453"/>
            <a:ext cx="5334762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just" defTabSz="778986">
              <a:lnSpc>
                <a:spcPts val="158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</a:rPr>
              <a:t>Обеспечение доступности, безопасности и эффективности производств:</a:t>
            </a:r>
            <a:endParaRPr lang="ru-RU" altLang="ru-RU" sz="1600" b="1" dirty="0">
              <a:solidFill>
                <a:srgbClr val="007C89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6" name="TextBox 10">
            <a:extLst>
              <a:ext uri="{FF2B5EF4-FFF2-40B4-BE49-F238E27FC236}">
                <a16:creationId xmlns:a16="http://schemas.microsoft.com/office/drawing/2014/main" id="{DF7F6480-1051-ED46-99A1-160C63247D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171" y="1834203"/>
            <a:ext cx="5440361" cy="2298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Недопущение УМД (по отказам оборудования, человеческому, технологическому факторам)</a:t>
            </a:r>
            <a:endParaRPr lang="en-US" altLang="ru-RU" sz="1200" kern="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азработка мероприятий в рамках актуализации Мастер-планов предприятия (поиск внешних </a:t>
            </a:r>
            <a:r>
              <a:rPr lang="ru-RU" altLang="ru-RU" sz="1200" kern="0" dirty="0" err="1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бенчмарков</a:t>
            </a: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 / лучших практик в новых условиях, поиск потенциала повышения производительности, операционной эффективности) </a:t>
            </a:r>
          </a:p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рименение цифровых инструментов, в </a:t>
            </a:r>
            <a:r>
              <a:rPr lang="ru-RU" altLang="ru-RU" sz="1200" kern="0" dirty="0" err="1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т.ч</a:t>
            </a: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. Цифровой завод / малолюдное производство (пилот на примере конкретного производства / установки) </a:t>
            </a:r>
          </a:p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овышение эффективности процессов </a:t>
            </a:r>
            <a:r>
              <a:rPr lang="ru-RU" altLang="ru-RU" sz="1200" kern="0" dirty="0" err="1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ТОиР</a:t>
            </a:r>
            <a:endParaRPr lang="ru-RU" altLang="ru-RU" sz="1200" kern="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илот по оптимизации МДП (сверх</a:t>
            </a:r>
            <a:r>
              <a:rPr lang="en-GB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min </a:t>
            </a: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и сверх</a:t>
            </a:r>
            <a:r>
              <a:rPr lang="en-GB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max) </a:t>
            </a: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на конкретном </a:t>
            </a:r>
            <a:r>
              <a:rPr lang="ru-RU" altLang="ru-RU" sz="1200" kern="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роизводстве/установке</a:t>
            </a:r>
            <a:endParaRPr lang="ru-RU" altLang="ru-RU" sz="1200" kern="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7" name="TextBox 10">
            <a:extLst>
              <a:ext uri="{FF2B5EF4-FFF2-40B4-BE49-F238E27FC236}">
                <a16:creationId xmlns:a16="http://schemas.microsoft.com/office/drawing/2014/main" id="{121617C3-8717-804D-A73A-4C2BCD250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550" y="4461295"/>
            <a:ext cx="5240588" cy="297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defTabSz="778986">
              <a:lnSpc>
                <a:spcPts val="158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овышение качества готовой продукции</a:t>
            </a:r>
            <a:r>
              <a:rPr lang="en-US" alt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:</a:t>
            </a:r>
            <a:endParaRPr lang="ru-RU" altLang="ru-RU" sz="1600" b="1" dirty="0">
              <a:solidFill>
                <a:srgbClr val="007C89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8" name="TextBox 10">
            <a:extLst>
              <a:ext uri="{FF2B5EF4-FFF2-40B4-BE49-F238E27FC236}">
                <a16:creationId xmlns:a16="http://schemas.microsoft.com/office/drawing/2014/main" id="{88B578D5-8607-2149-9BF0-200A0B9DAA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7172" y="4911541"/>
            <a:ext cx="5440361" cy="148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ешение локальных кейсов предприятий с проблематикой качества готовой продукции (каучуки, ПЭ, ПП и др.)</a:t>
            </a:r>
          </a:p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абота с качеством продукции не по достижению параметров регламента и/или тех спецификаций, а от запроса клиента. </a:t>
            </a:r>
          </a:p>
          <a:p>
            <a:pPr marL="228594" lvl="1" indent="-228594" algn="just" defTabSz="1038622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Улучшение свойств/достижение уникальных параметров продукции СХ под развитие клиентских продуктов (совместная работа с клиентами над потребительскими товарами) </a:t>
            </a:r>
          </a:p>
        </p:txBody>
      </p:sp>
      <p:sp>
        <p:nvSpPr>
          <p:cNvPr id="59" name="TextBox 10">
            <a:extLst>
              <a:ext uri="{FF2B5EF4-FFF2-40B4-BE49-F238E27FC236}">
                <a16:creationId xmlns:a16="http://schemas.microsoft.com/office/drawing/2014/main" id="{6EC7015C-7684-994E-BF63-CA2EB5D386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0992" y="1268876"/>
            <a:ext cx="4960448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just" defTabSz="778986">
              <a:lnSpc>
                <a:spcPts val="158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</a:rPr>
              <a:t>Повышение уровня технологической </a:t>
            </a:r>
            <a:r>
              <a:rPr lang="ru-RU" sz="1600" b="1" dirty="0" smtClean="0">
                <a:solidFill>
                  <a:srgbClr val="007C89"/>
                </a:solidFill>
                <a:latin typeface="+mn-lt"/>
                <a:ea typeface="Roboto" panose="02000000000000000000" pitchFamily="2" charset="0"/>
              </a:rPr>
              <a:t>независимости:</a:t>
            </a:r>
            <a:endParaRPr lang="ru-RU" altLang="ru-RU" sz="1600" b="1" dirty="0">
              <a:solidFill>
                <a:srgbClr val="007C89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60" name="TextBox 10">
            <a:extLst>
              <a:ext uri="{FF2B5EF4-FFF2-40B4-BE49-F238E27FC236}">
                <a16:creationId xmlns:a16="http://schemas.microsoft.com/office/drawing/2014/main" id="{7C8788A1-A546-D943-BD38-4EC1E65B0B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0993" y="4461295"/>
            <a:ext cx="5033599" cy="502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just" defTabSz="778986">
              <a:lnSpc>
                <a:spcPts val="158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ru-RU" altLang="ru-RU" sz="1600" b="1" dirty="0" err="1" smtClean="0">
                <a:solidFill>
                  <a:srgbClr val="007C8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Опер.модель</a:t>
            </a:r>
            <a:r>
              <a:rPr lang="ru-RU" alt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: развитие системы процессов, стандартов / методик:</a:t>
            </a:r>
          </a:p>
        </p:txBody>
      </p:sp>
      <p:sp>
        <p:nvSpPr>
          <p:cNvPr id="61" name="TextBox 10">
            <a:extLst>
              <a:ext uri="{FF2B5EF4-FFF2-40B4-BE49-F238E27FC236}">
                <a16:creationId xmlns:a16="http://schemas.microsoft.com/office/drawing/2014/main" id="{EC86C1BF-D030-034E-ADFF-8A2111F9E2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7652" y="1801681"/>
            <a:ext cx="5440361" cy="91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 sz="1200" kern="0">
                <a:solidFill>
                  <a:srgbClr val="082F3D"/>
                </a:solidFill>
                <a:ea typeface="Roboto" panose="02000000000000000000" pitchFamily="2" charset="0"/>
                <a:cs typeface="Times New Roman" panose="02020603050405020304" pitchFamily="18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lvl="1"/>
            <a:r>
              <a:rPr lang="ru-RU" altLang="ru-RU" dirty="0">
                <a:sym typeface="Arial"/>
              </a:rPr>
              <a:t>Доступность оборудования</a:t>
            </a:r>
          </a:p>
          <a:p>
            <a:pPr lvl="1"/>
            <a:r>
              <a:rPr lang="ru-RU" altLang="ru-RU" dirty="0">
                <a:sym typeface="Arial"/>
              </a:rPr>
              <a:t>Доступность химии (реагенты и катализаторы)</a:t>
            </a:r>
          </a:p>
          <a:p>
            <a:pPr lvl="1"/>
            <a:r>
              <a:rPr lang="ru-RU" altLang="ru-RU" dirty="0">
                <a:sym typeface="Arial"/>
              </a:rPr>
              <a:t>Доступность АСУТП</a:t>
            </a:r>
          </a:p>
          <a:p>
            <a:pPr lvl="1"/>
            <a:r>
              <a:rPr lang="ru-RU" altLang="ru-RU" dirty="0">
                <a:sym typeface="Arial"/>
              </a:rPr>
              <a:t>Доступность программного обеспечения</a:t>
            </a:r>
          </a:p>
        </p:txBody>
      </p:sp>
      <p:sp>
        <p:nvSpPr>
          <p:cNvPr id="62" name="TextBox 10">
            <a:extLst>
              <a:ext uri="{FF2B5EF4-FFF2-40B4-BE49-F238E27FC236}">
                <a16:creationId xmlns:a16="http://schemas.microsoft.com/office/drawing/2014/main" id="{769B08D7-8850-034A-A456-1D3481137B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8472" y="5086285"/>
            <a:ext cx="5097753" cy="977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Создание и актуализация базы знаний по технологическим / техническим вопросам на базе ИИ </a:t>
            </a:r>
          </a:p>
          <a:p>
            <a:pPr marL="228594" lvl="1" indent="-228594" algn="just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Организация работы экспертных и профессиональных сообществ. Роль экспертов в агрегации</a:t>
            </a:r>
            <a:r>
              <a:rPr lang="en-US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 </a:t>
            </a:r>
            <a:r>
              <a:rPr lang="ru-RU" altLang="ru-RU" sz="1200" kern="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и распространении успешных практик</a:t>
            </a:r>
          </a:p>
        </p:txBody>
      </p:sp>
      <p:sp>
        <p:nvSpPr>
          <p:cNvPr id="63" name="TextBox 10">
            <a:extLst>
              <a:ext uri="{FF2B5EF4-FFF2-40B4-BE49-F238E27FC236}">
                <a16:creationId xmlns:a16="http://schemas.microsoft.com/office/drawing/2014/main" id="{38E2C0AF-4BD3-6B47-A2FD-CCF7059B7C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0992" y="3129241"/>
            <a:ext cx="5618133" cy="297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defTabSz="778986">
              <a:lnSpc>
                <a:spcPts val="158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ru-RU" sz="1600" b="1" dirty="0">
                <a:solidFill>
                  <a:srgbClr val="007C89"/>
                </a:solidFill>
                <a:latin typeface="+mn-lt"/>
                <a:ea typeface="Roboto" panose="02000000000000000000" pitchFamily="2" charset="0"/>
              </a:rPr>
              <a:t>Развитие системы управления рисками</a:t>
            </a:r>
            <a:r>
              <a:rPr lang="ru-RU" sz="1600" b="1" dirty="0" smtClean="0">
                <a:solidFill>
                  <a:srgbClr val="007C89"/>
                </a:solidFill>
                <a:latin typeface="+mn-lt"/>
                <a:ea typeface="Roboto" panose="02000000000000000000" pitchFamily="2" charset="0"/>
              </a:rPr>
              <a:t>:</a:t>
            </a:r>
            <a:endParaRPr lang="ru-RU" altLang="ru-RU" sz="1600" b="1" dirty="0">
              <a:solidFill>
                <a:srgbClr val="007C89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64" name="TextBox 10">
            <a:extLst>
              <a:ext uri="{FF2B5EF4-FFF2-40B4-BE49-F238E27FC236}">
                <a16:creationId xmlns:a16="http://schemas.microsoft.com/office/drawing/2014/main" id="{426F61EF-C3DF-C84E-9326-31548919DB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0992" y="3520772"/>
            <a:ext cx="5440361" cy="695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роизводственные риски</a:t>
            </a:r>
          </a:p>
          <a:p>
            <a:pPr marL="228594" lvl="1" indent="-228594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иски с техногенным потенциалом</a:t>
            </a:r>
          </a:p>
          <a:p>
            <a:pPr marL="228594" lvl="1" indent="-228594" defTabSz="1038622">
              <a:lnSpc>
                <a:spcPts val="1340"/>
              </a:lnSpc>
              <a:spcBef>
                <a:spcPct val="0"/>
              </a:spcBef>
              <a:spcAft>
                <a:spcPts val="4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2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Риски травматизма</a:t>
            </a:r>
          </a:p>
        </p:txBody>
      </p:sp>
    </p:spTree>
    <p:extLst>
      <p:ext uri="{BB962C8B-B14F-4D97-AF65-F5344CB8AC3E}">
        <p14:creationId xmlns:p14="http://schemas.microsoft.com/office/powerpoint/2010/main" val="5518042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7E2C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800" y="-18562"/>
            <a:ext cx="9902400" cy="6858000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F59CDB6-5DE0-6841-976B-B6F7251CE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276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5</a:t>
            </a:r>
            <a:endParaRPr lang="ru-RU" altLang="ru-RU" sz="900" b="1" dirty="0">
              <a:solidFill>
                <a:srgbClr val="002F3B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BBDC21-8369-254A-A9D7-EA2297890B3C}"/>
              </a:ext>
            </a:extLst>
          </p:cNvPr>
          <p:cNvSpPr/>
          <p:nvPr/>
        </p:nvSpPr>
        <p:spPr bwMode="auto">
          <a:xfrm>
            <a:off x="10510684" y="6213987"/>
            <a:ext cx="1484671" cy="550607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07177C-E596-814D-B9AD-F53BA83362F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645" y="1059409"/>
            <a:ext cx="1641818" cy="101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838491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2">
            <a:extLst>
              <a:ext uri="{FF2B5EF4-FFF2-40B4-BE49-F238E27FC236}">
                <a16:creationId xmlns:a16="http://schemas.microsoft.com/office/drawing/2014/main" id="{A81E7819-B10F-A04A-9118-D39513C325EF}"/>
              </a:ext>
            </a:extLst>
          </p:cNvPr>
          <p:cNvPicPr>
            <a:picLocks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2267" y="977419"/>
            <a:ext cx="2554182" cy="2525522"/>
          </a:xfrm>
          <a:prstGeom prst="ellipse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685F0E-1289-46A0-95CF-869C0B0A6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880" y="-61263"/>
            <a:ext cx="11235268" cy="80051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</a:pPr>
            <a:r>
              <a:rPr lang="ru-RU" sz="3800" dirty="0">
                <a:solidFill>
                  <a:srgbClr val="006077"/>
                </a:solidFill>
                <a:latin typeface="+mn-lt"/>
                <a:ea typeface="Roboto" panose="02000000000000000000" pitchFamily="2" charset="0"/>
                <a:cs typeface="Calibri"/>
                <a:sym typeface="Calibri"/>
              </a:rPr>
              <a:t>Формирование команд</a:t>
            </a:r>
          </a:p>
        </p:txBody>
      </p:sp>
      <p:sp>
        <p:nvSpPr>
          <p:cNvPr id="47" name="TextBox 4">
            <a:extLst>
              <a:ext uri="{FF2B5EF4-FFF2-40B4-BE49-F238E27FC236}">
                <a16:creationId xmlns:a16="http://schemas.microsoft.com/office/drawing/2014/main" id="{19510EF3-D324-4718-8D91-3A57C0E07D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8881" y="3936120"/>
            <a:ext cx="2798628" cy="925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ts val="134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Молодые специалисты в возрасте до 30 лет, работающие в функциях </a:t>
            </a:r>
            <a:r>
              <a:rPr kumimoji="0" lang="ru-RU" alt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Эффективность</a:t>
            </a:r>
            <a:r>
              <a:rPr kumimoji="0" lang="ru-RU" altLang="ru-RU" sz="1200" i="0" u="none" strike="noStrike" kern="1200" cap="none" spc="0" normalizeH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ru-RU" altLang="ru-RU" sz="1200" i="0" u="none" strike="noStrike" kern="1200" cap="none" spc="0" normalizeH="0" noProof="0" dirty="0" err="1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произ-ва</a:t>
            </a:r>
            <a:r>
              <a:rPr kumimoji="0" lang="ru-RU" alt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kumimoji="0" lang="ru-RU" alt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(</a:t>
            </a:r>
            <a:r>
              <a:rPr kumimoji="0" lang="ru-RU" altLang="ru-RU" sz="12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Произ</a:t>
            </a:r>
            <a:r>
              <a:rPr kumimoji="0" lang="ru-RU" alt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-во</a:t>
            </a:r>
            <a:r>
              <a:rPr kumimoji="0" lang="ru-RU" alt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, </a:t>
            </a:r>
            <a:r>
              <a:rPr kumimoji="0" lang="ru-RU" alt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НиР</a:t>
            </a:r>
            <a:r>
              <a:rPr kumimoji="0" lang="ru-RU" alt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, Технология), </a:t>
            </a:r>
            <a:r>
              <a:rPr kumimoji="0" lang="ru-RU" altLang="ru-RU" sz="1200" i="0" u="none" strike="noStrike" kern="1200" cap="none" spc="0" normalizeH="0" baseline="0" noProof="0" dirty="0" err="1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ОТиПБ</a:t>
            </a:r>
            <a:r>
              <a:rPr kumimoji="0" lang="ru-RU" altLang="ru-RU" sz="1200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, УЦП, Логистика и др.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15131B5B-A292-41A2-B904-2129E41D8F5D}"/>
              </a:ext>
            </a:extLst>
          </p:cNvPr>
          <p:cNvCxnSpPr>
            <a:cxnSpLocks/>
          </p:cNvCxnSpPr>
          <p:nvPr/>
        </p:nvCxnSpPr>
        <p:spPr>
          <a:xfrm flipH="1">
            <a:off x="602246" y="4878096"/>
            <a:ext cx="2414666" cy="0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F35F6FE-8E0A-7847-A94D-37E373EDC5B0}"/>
              </a:ext>
            </a:extLst>
          </p:cNvPr>
          <p:cNvSpPr txBox="1">
            <a:spLocks/>
          </p:cNvSpPr>
          <p:nvPr/>
        </p:nvSpPr>
        <p:spPr>
          <a:xfrm>
            <a:off x="478366" y="3604125"/>
            <a:ext cx="1977963" cy="32249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038622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600" b="1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Участники Форума:</a:t>
            </a: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9F6F877A-E200-8548-8CF3-4201E83116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53" y="4911282"/>
            <a:ext cx="2961283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indent="-228594" defTabSz="1038622">
              <a:lnSpc>
                <a:spcPts val="1340"/>
              </a:lnSpc>
              <a:spcBef>
                <a:spcPct val="0"/>
              </a:spcBef>
              <a:buClr>
                <a:prstClr val="white"/>
              </a:buClr>
              <a:buSzPct val="120000"/>
            </a:pPr>
            <a:r>
              <a:rPr lang="ru-RU" altLang="ru-RU" sz="1200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Лидеры и активисты Совета Молодежи </a:t>
            </a: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6CBDF9DC-91A2-784A-9124-618CF11676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5288" y="5512603"/>
            <a:ext cx="2970248" cy="592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indent="-228594" defTabSz="1038622">
              <a:lnSpc>
                <a:spcPts val="1340"/>
              </a:lnSpc>
              <a:spcBef>
                <a:spcPct val="0"/>
              </a:spcBef>
              <a:buClr>
                <a:prstClr val="white"/>
              </a:buClr>
              <a:buSzPct val="120000"/>
            </a:pPr>
            <a:r>
              <a:rPr lang="ru-RU" altLang="ru-RU" sz="1200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Студенты вузов, в </a:t>
            </a:r>
            <a:r>
              <a:rPr lang="ru-RU" altLang="ru-RU" sz="1200" dirty="0" err="1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т.ч</a:t>
            </a:r>
            <a:r>
              <a:rPr lang="ru-RU" altLang="ru-RU" sz="1200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. целевой корпоративной подготовки  (студенческая лига)</a:t>
            </a:r>
            <a:endParaRPr lang="ru-RU" altLang="ru-RU" sz="1200" dirty="0">
              <a:solidFill>
                <a:srgbClr val="006077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16">
            <a:extLst>
              <a:ext uri="{FF2B5EF4-FFF2-40B4-BE49-F238E27FC236}">
                <a16:creationId xmlns:a16="http://schemas.microsoft.com/office/drawing/2014/main" id="{D8E51C31-F69D-AC40-B26A-A917226C1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ru-RU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6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cxnSp>
        <p:nvCxnSpPr>
          <p:cNvPr id="18" name="Прямая соединительная линия 51">
            <a:extLst>
              <a:ext uri="{FF2B5EF4-FFF2-40B4-BE49-F238E27FC236}">
                <a16:creationId xmlns:a16="http://schemas.microsoft.com/office/drawing/2014/main" id="{E27E5D5D-1944-6D4B-BC5D-4CB9FC3B5FB0}"/>
              </a:ext>
            </a:extLst>
          </p:cNvPr>
          <p:cNvCxnSpPr>
            <a:cxnSpLocks/>
          </p:cNvCxnSpPr>
          <p:nvPr/>
        </p:nvCxnSpPr>
        <p:spPr>
          <a:xfrm flipH="1">
            <a:off x="602246" y="5502040"/>
            <a:ext cx="2414666" cy="0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7">
            <a:extLst>
              <a:ext uri="{FF2B5EF4-FFF2-40B4-BE49-F238E27FC236}">
                <a16:creationId xmlns:a16="http://schemas.microsoft.com/office/drawing/2014/main" id="{45E3E003-0F8E-204F-A1A0-FAA52439A8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71769" y="864324"/>
            <a:ext cx="2862203" cy="1187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1038622">
              <a:lnSpc>
                <a:spcPts val="1440"/>
              </a:lnSpc>
              <a:spcBef>
                <a:spcPct val="0"/>
              </a:spcBef>
              <a:buNone/>
            </a:pPr>
            <a:r>
              <a:rPr lang="ru-RU" altLang="ru-RU" sz="1200" b="1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ПОДГОТОВКА К УЧАСТИЮ:</a:t>
            </a:r>
          </a:p>
          <a:p>
            <a:pPr marL="285750" indent="-285750" defTabSz="1038622">
              <a:lnSpc>
                <a:spcPts val="144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Формирование команд: 5 </a:t>
            </a:r>
            <a:r>
              <a:rPr lang="ru-RU" altLang="ru-RU" sz="1200" dirty="0" smtClean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чел,             </a:t>
            </a:r>
            <a:r>
              <a:rPr lang="ru-RU" alt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выбор капитана</a:t>
            </a:r>
          </a:p>
          <a:p>
            <a:pPr marL="285750" indent="-285750" defTabSz="1038622">
              <a:lnSpc>
                <a:spcPts val="144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Определение темы проекта и выбор наставника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Tx/>
              <a:buChar char="-"/>
            </a:pPr>
            <a:endParaRPr lang="ru-RU" altLang="ru-RU" sz="1200" i="1" dirty="0">
              <a:solidFill>
                <a:srgbClr val="002F3B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id="{F285E8C3-1514-8B47-B48C-A87DD56AB7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4095" y="824077"/>
            <a:ext cx="5069577" cy="121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Совместно с руководителями и экспертами обсудите актуальные темы проектов и выберите основную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Определите проблемы, которые вы можете </a:t>
            </a:r>
            <a:r>
              <a:rPr lang="ru-RU" sz="1200" dirty="0" smtClean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решить </a:t>
            </a: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с помощью проекта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Выберите ту из проблем, которая «выстрелит» с наибольшим эффектом и лучшей экономикой</a:t>
            </a:r>
            <a:endParaRPr lang="ru-RU" altLang="ru-RU" sz="1200" dirty="0">
              <a:solidFill>
                <a:srgbClr val="002F3B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036979F-BEA9-1D42-B3A0-06E8BE2C7407}"/>
              </a:ext>
            </a:extLst>
          </p:cNvPr>
          <p:cNvSpPr txBox="1">
            <a:spLocks/>
          </p:cNvSpPr>
          <p:nvPr/>
        </p:nvSpPr>
        <p:spPr>
          <a:xfrm>
            <a:off x="3342618" y="904367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sz="40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1</a:t>
            </a:r>
          </a:p>
        </p:txBody>
      </p:sp>
      <p:cxnSp>
        <p:nvCxnSpPr>
          <p:cNvPr id="26" name="Прямая соединительная линия 51">
            <a:extLst>
              <a:ext uri="{FF2B5EF4-FFF2-40B4-BE49-F238E27FC236}">
                <a16:creationId xmlns:a16="http://schemas.microsoft.com/office/drawing/2014/main" id="{E37F66F8-BBAE-164B-94EC-2E223F58F8FA}"/>
              </a:ext>
            </a:extLst>
          </p:cNvPr>
          <p:cNvCxnSpPr>
            <a:cxnSpLocks/>
          </p:cNvCxnSpPr>
          <p:nvPr/>
        </p:nvCxnSpPr>
        <p:spPr>
          <a:xfrm>
            <a:off x="6658985" y="885020"/>
            <a:ext cx="0" cy="972363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7">
            <a:extLst>
              <a:ext uri="{FF2B5EF4-FFF2-40B4-BE49-F238E27FC236}">
                <a16:creationId xmlns:a16="http://schemas.microsoft.com/office/drawing/2014/main" id="{8D021D39-5E32-DE43-913E-D9BD31AE65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1844" y="2132686"/>
            <a:ext cx="2956903" cy="102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200" b="1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РАБОТА НАД ПРОЕКТОМ: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Поиск решения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Разработка проекта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Обсуждение решения с наставником / экспертам</a:t>
            </a:r>
          </a:p>
        </p:txBody>
      </p:sp>
      <p:sp>
        <p:nvSpPr>
          <p:cNvPr id="31" name="TextBox 7">
            <a:extLst>
              <a:ext uri="{FF2B5EF4-FFF2-40B4-BE49-F238E27FC236}">
                <a16:creationId xmlns:a16="http://schemas.microsoft.com/office/drawing/2014/main" id="{814BA8EE-2780-2E41-BF9C-18B9662A97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4095" y="2110874"/>
            <a:ext cx="5069578" cy="1213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Изучите как можно больше информации по теме, используйте разные источники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Проведите </a:t>
            </a:r>
            <a:r>
              <a:rPr lang="ru-RU" sz="1200" dirty="0" err="1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бенчмарк</a:t>
            </a: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-анализ патентных идей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Вовлекайте всех участников команды, обсуждайте, ищите нестандартные идеи. После мозгового штурма с командой обсудите с экспертами и выберите лучшее решение</a:t>
            </a:r>
          </a:p>
        </p:txBody>
      </p:sp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B371C12D-A454-5E41-95C4-52A5119457C0}"/>
              </a:ext>
            </a:extLst>
          </p:cNvPr>
          <p:cNvSpPr txBox="1">
            <a:spLocks/>
          </p:cNvSpPr>
          <p:nvPr/>
        </p:nvSpPr>
        <p:spPr>
          <a:xfrm>
            <a:off x="3342618" y="2172729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sz="40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2</a:t>
            </a:r>
          </a:p>
        </p:txBody>
      </p:sp>
      <p:cxnSp>
        <p:nvCxnSpPr>
          <p:cNvPr id="33" name="Прямая соединительная линия 51">
            <a:extLst>
              <a:ext uri="{FF2B5EF4-FFF2-40B4-BE49-F238E27FC236}">
                <a16:creationId xmlns:a16="http://schemas.microsoft.com/office/drawing/2014/main" id="{CD8FD692-6D2B-D647-A08C-0D2677469092}"/>
              </a:ext>
            </a:extLst>
          </p:cNvPr>
          <p:cNvCxnSpPr>
            <a:cxnSpLocks/>
          </p:cNvCxnSpPr>
          <p:nvPr/>
        </p:nvCxnSpPr>
        <p:spPr>
          <a:xfrm>
            <a:off x="6658985" y="2220996"/>
            <a:ext cx="0" cy="995834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7">
            <a:extLst>
              <a:ext uri="{FF2B5EF4-FFF2-40B4-BE49-F238E27FC236}">
                <a16:creationId xmlns:a16="http://schemas.microsoft.com/office/drawing/2014/main" id="{A76D6B6C-0DC9-944A-AC0F-128E143B59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1845" y="3481542"/>
            <a:ext cx="2852128" cy="102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200" b="1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РЕГИОНАЛЬНЫЕ И КОРП. ЭТАПЫ: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Подготовка к защитам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Защиты проектов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Определение победителей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Награждение</a:t>
            </a:r>
          </a:p>
        </p:txBody>
      </p:sp>
      <p:sp>
        <p:nvSpPr>
          <p:cNvPr id="35" name="TextBox 7">
            <a:extLst>
              <a:ext uri="{FF2B5EF4-FFF2-40B4-BE49-F238E27FC236}">
                <a16:creationId xmlns:a16="http://schemas.microsoft.com/office/drawing/2014/main" id="{3BAF4F2D-DA9F-5145-B14D-21AEC4B69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4095" y="3341816"/>
            <a:ext cx="5069577" cy="158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Сформулируйте идею проекта в 1-3 предложениях, выделите главную мысль, сокращайте слова, чтобы уложиться в 6 мин. Рассказывайте просто о сложном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Готовьте материалы к защите итерациями, несколько раз покажите его экспертам/наставнику, после вносите правки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Распределите в команде, кто за что отвечает при подготовке. Важно, чтобы все были в одном информационном </a:t>
            </a:r>
            <a:r>
              <a:rPr lang="ru-RU" sz="1200" dirty="0" smtClean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поле и </a:t>
            </a: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понимали весь проект на одном уровне </a:t>
            </a: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B0262746-3EBA-3F43-80D3-6893DFA3E2F7}"/>
              </a:ext>
            </a:extLst>
          </p:cNvPr>
          <p:cNvSpPr txBox="1">
            <a:spLocks/>
          </p:cNvSpPr>
          <p:nvPr/>
        </p:nvSpPr>
        <p:spPr>
          <a:xfrm>
            <a:off x="3342618" y="3521585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sz="40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3</a:t>
            </a:r>
          </a:p>
        </p:txBody>
      </p:sp>
      <p:cxnSp>
        <p:nvCxnSpPr>
          <p:cNvPr id="37" name="Прямая соединительная линия 51">
            <a:extLst>
              <a:ext uri="{FF2B5EF4-FFF2-40B4-BE49-F238E27FC236}">
                <a16:creationId xmlns:a16="http://schemas.microsoft.com/office/drawing/2014/main" id="{9E73EBCD-4100-9145-847D-15C9C4B77380}"/>
              </a:ext>
            </a:extLst>
          </p:cNvPr>
          <p:cNvCxnSpPr>
            <a:cxnSpLocks/>
          </p:cNvCxnSpPr>
          <p:nvPr/>
        </p:nvCxnSpPr>
        <p:spPr>
          <a:xfrm>
            <a:off x="6658985" y="3520295"/>
            <a:ext cx="0" cy="1069599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B1CF81F5-2A32-0741-9F08-AD9DC1B0ADEE}"/>
              </a:ext>
            </a:extLst>
          </p:cNvPr>
          <p:cNvSpPr txBox="1">
            <a:spLocks/>
          </p:cNvSpPr>
          <p:nvPr/>
        </p:nvSpPr>
        <p:spPr>
          <a:xfrm>
            <a:off x="3342618" y="4027374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sz="40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4</a:t>
            </a:r>
          </a:p>
        </p:txBody>
      </p:sp>
      <p:sp>
        <p:nvSpPr>
          <p:cNvPr id="39" name="TextBox 7">
            <a:extLst>
              <a:ext uri="{FF2B5EF4-FFF2-40B4-BE49-F238E27FC236}">
                <a16:creationId xmlns:a16="http://schemas.microsoft.com/office/drawing/2014/main" id="{8E22B9B6-50C9-4C47-BA42-3045BC264C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0788" y="5036834"/>
            <a:ext cx="2858197" cy="84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200" b="1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РЕАЛИЗАЦИЯ ПРОЕКТА:</a:t>
            </a:r>
            <a:endParaRPr lang="ru-RU" altLang="ru-RU" sz="1200" dirty="0">
              <a:solidFill>
                <a:srgbClr val="003D4C"/>
              </a:solidFill>
              <a:latin typeface="+mn-lt"/>
              <a:ea typeface="Roboto" panose="02000000000000000000" pitchFamily="2" charset="0"/>
            </a:endParaRP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Подготовка е реализации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Внедрение проекта</a:t>
            </a:r>
          </a:p>
          <a:p>
            <a:pPr marL="285750" indent="-285750" defTabSz="1038622">
              <a:lnSpc>
                <a:spcPct val="10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ru-RU" altLang="ru-RU" sz="12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Оценка полученных результатов</a:t>
            </a:r>
          </a:p>
        </p:txBody>
      </p:sp>
      <p:sp>
        <p:nvSpPr>
          <p:cNvPr id="40" name="TextBox 7">
            <a:extLst>
              <a:ext uri="{FF2B5EF4-FFF2-40B4-BE49-F238E27FC236}">
                <a16:creationId xmlns:a16="http://schemas.microsoft.com/office/drawing/2014/main" id="{235DAD8A-E659-8E45-AD32-BABE0437CA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4095" y="4954258"/>
            <a:ext cx="5069577" cy="158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Обсудите с руководителями перспективы / возможности реализации проекта, в случае принятия решения о реализации решения - план и состав команды реализации проекта, свою роль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Инициируйте / участвуйте в регулярных встречах по реализации проекта, вносите свой вклад в его воплощение</a:t>
            </a:r>
          </a:p>
          <a:p>
            <a:pPr marL="285750" indent="-285750" algn="just" defTabSz="1038622">
              <a:lnSpc>
                <a:spcPct val="100000"/>
              </a:lnSpc>
              <a:spcBef>
                <a:spcPct val="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002F3B"/>
                </a:solidFill>
                <a:latin typeface="+mn-lt"/>
                <a:ea typeface="Roboto" panose="02000000000000000000" pitchFamily="2" charset="0"/>
              </a:rPr>
              <a:t>Подводите промежуточные статусы по реализации проекта, делайте выводы на будущее</a:t>
            </a:r>
          </a:p>
        </p:txBody>
      </p:sp>
      <p:sp>
        <p:nvSpPr>
          <p:cNvPr id="41" name="Заголовок 1">
            <a:extLst>
              <a:ext uri="{FF2B5EF4-FFF2-40B4-BE49-F238E27FC236}">
                <a16:creationId xmlns:a16="http://schemas.microsoft.com/office/drawing/2014/main" id="{8E6EE440-3044-F94C-9FEE-81B3FA6337E7}"/>
              </a:ext>
            </a:extLst>
          </p:cNvPr>
          <p:cNvSpPr txBox="1">
            <a:spLocks/>
          </p:cNvSpPr>
          <p:nvPr/>
        </p:nvSpPr>
        <p:spPr>
          <a:xfrm>
            <a:off x="3342618" y="5086709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sz="40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5</a:t>
            </a:r>
          </a:p>
        </p:txBody>
      </p:sp>
      <p:cxnSp>
        <p:nvCxnSpPr>
          <p:cNvPr id="42" name="Прямая соединительная линия 51">
            <a:extLst>
              <a:ext uri="{FF2B5EF4-FFF2-40B4-BE49-F238E27FC236}">
                <a16:creationId xmlns:a16="http://schemas.microsoft.com/office/drawing/2014/main" id="{8BB794BF-CAFF-9842-947A-CFE844896995}"/>
              </a:ext>
            </a:extLst>
          </p:cNvPr>
          <p:cNvCxnSpPr>
            <a:cxnSpLocks/>
          </p:cNvCxnSpPr>
          <p:nvPr/>
        </p:nvCxnSpPr>
        <p:spPr>
          <a:xfrm>
            <a:off x="6658985" y="5066062"/>
            <a:ext cx="0" cy="1069599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9690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422066" y="2745928"/>
            <a:ext cx="463578" cy="467198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>
              <a:cs typeface="Arial" panose="020B0604020202020204" pitchFamily="34" charset="0"/>
            </a:endParaRPr>
          </a:p>
        </p:txBody>
      </p:sp>
      <p:sp>
        <p:nvSpPr>
          <p:cNvPr id="21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422066" y="1164620"/>
            <a:ext cx="463578" cy="467198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685F0E-1289-46A0-95CF-869C0B0A6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1173"/>
            <a:ext cx="11235268" cy="912284"/>
          </a:xfrm>
        </p:spPr>
        <p:txBody>
          <a:bodyPr anchor="ctr">
            <a:normAutofit/>
          </a:bodyPr>
          <a:lstStyle/>
          <a:p>
            <a:r>
              <a:rPr lang="ru-RU" sz="3800" dirty="0">
                <a:solidFill>
                  <a:srgbClr val="006077"/>
                </a:solidFill>
                <a:latin typeface="+mn-lt"/>
                <a:ea typeface="Roboto" panose="02000000000000000000" pitchFamily="2" charset="0"/>
                <a:cs typeface="Calibri"/>
              </a:rPr>
              <a:t>Рекомендации для участников</a:t>
            </a:r>
          </a:p>
        </p:txBody>
      </p:sp>
      <p:sp>
        <p:nvSpPr>
          <p:cNvPr id="28" name="Прямоугольник 16">
            <a:extLst>
              <a:ext uri="{FF2B5EF4-FFF2-40B4-BE49-F238E27FC236}">
                <a16:creationId xmlns:a16="http://schemas.microsoft.com/office/drawing/2014/main" id="{D8E51C31-F69D-AC40-B26A-A917226C1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7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7" name="TextBox 7">
            <a:extLst>
              <a:ext uri="{FF2B5EF4-FFF2-40B4-BE49-F238E27FC236}">
                <a16:creationId xmlns:a16="http://schemas.microsoft.com/office/drawing/2014/main" id="{D8796A93-7962-5041-8A32-9AFF2F8ACB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196" y="1895208"/>
            <a:ext cx="5180670" cy="696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indent="0" algn="just" defTabSz="1038622">
              <a:lnSpc>
                <a:spcPct val="120000"/>
              </a:lnSpc>
              <a:spcBef>
                <a:spcPct val="0"/>
              </a:spcBef>
              <a:buNone/>
            </a:pPr>
            <a:r>
              <a:rPr lang="ru-RU" altLang="ru-RU" sz="16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Обратитесь за опытом, советами к участникам </a:t>
            </a:r>
            <a:r>
              <a:rPr lang="ru-RU" altLang="ru-RU" sz="1600" dirty="0" smtClean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Форума 2022 - 2023 гг. </a:t>
            </a:r>
            <a:r>
              <a:rPr lang="ru-RU" altLang="ru-RU" sz="16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вашего предприятия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48BD87AA-5873-E842-95D5-1B58C7164EC0}"/>
              </a:ext>
            </a:extLst>
          </p:cNvPr>
          <p:cNvSpPr txBox="1">
            <a:spLocks/>
          </p:cNvSpPr>
          <p:nvPr/>
        </p:nvSpPr>
        <p:spPr>
          <a:xfrm>
            <a:off x="6017173" y="1974579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42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1</a:t>
            </a:r>
          </a:p>
        </p:txBody>
      </p:sp>
      <p:sp>
        <p:nvSpPr>
          <p:cNvPr id="41" name="Прямоугольник 19">
            <a:extLst>
              <a:ext uri="{FF2B5EF4-FFF2-40B4-BE49-F238E27FC236}">
                <a16:creationId xmlns:a16="http://schemas.microsoft.com/office/drawing/2014/main" id="{E1E378BF-5467-AD4A-8EC0-2D00B753E8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036" y="1183223"/>
            <a:ext cx="4951643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361950" indent="-361950" algn="just" defTabSz="1038622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ru-RU" altLang="ru-RU" sz="1600" b="1" dirty="0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За 2 суток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до проведения защит команде необходимо отправить презентацию с решением кейса и аннотацию по электронной почте в формате </a:t>
            </a:r>
            <a:r>
              <a:rPr lang="en-US" altLang="ru-RU" sz="1600" b="1" dirty="0" err="1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ppt</a:t>
            </a:r>
            <a:r>
              <a:rPr lang="en-US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 </a:t>
            </a:r>
            <a:r>
              <a:rPr lang="ru-RU" altLang="ru-RU" sz="1600" b="1" dirty="0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на </a:t>
            </a:r>
            <a:r>
              <a:rPr lang="ru-RU" altLang="ru-RU" sz="1600" b="1" dirty="0" err="1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ema</a:t>
            </a:r>
            <a:r>
              <a:rPr lang="en-US" altLang="ru-RU" sz="1600" b="1" dirty="0" err="1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il</a:t>
            </a:r>
            <a:r>
              <a:rPr lang="en-US" altLang="ru-RU" sz="1600" b="1" dirty="0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 HR</a:t>
            </a:r>
            <a:r>
              <a:rPr lang="ru-RU" altLang="ru-RU" sz="1600" b="1" dirty="0">
                <a:solidFill>
                  <a:srgbClr val="E04E39"/>
                </a:solidFill>
                <a:latin typeface="+mn-lt"/>
                <a:ea typeface="Roboto" panose="02000000000000000000" pitchFamily="2" charset="0"/>
              </a:rPr>
              <a:t> предприятия,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ответственного за проведение Форума</a:t>
            </a:r>
          </a:p>
          <a:p>
            <a:pPr marL="361950" indent="-361950" algn="just"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Файл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презентации и аннотацию необходимо назвать в соответствии с названием команды и предприятия, например, </a:t>
            </a:r>
            <a:r>
              <a:rPr lang="ru-RU" altLang="ru-RU" sz="1600" b="1" dirty="0" err="1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Техники_ЗСНХ</a:t>
            </a:r>
            <a:endParaRPr lang="ru-RU" altLang="ru-RU" sz="1600" dirty="0">
              <a:solidFill>
                <a:srgbClr val="082F3D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43" name="Скругленный прямоугольник 22">
            <a:hlinkClick r:id="rId2"/>
            <a:extLst>
              <a:ext uri="{FF2B5EF4-FFF2-40B4-BE49-F238E27FC236}">
                <a16:creationId xmlns:a16="http://schemas.microsoft.com/office/drawing/2014/main" id="{F7D29ED8-D1E6-2D45-9BB0-1DC00DD85869}"/>
              </a:ext>
            </a:extLst>
          </p:cNvPr>
          <p:cNvSpPr/>
          <p:nvPr/>
        </p:nvSpPr>
        <p:spPr bwMode="auto">
          <a:xfrm>
            <a:off x="406198" y="3704408"/>
            <a:ext cx="3314171" cy="702945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867" b="1" dirty="0">
                <a:solidFill>
                  <a:srgbClr val="003D4C"/>
                </a:solidFill>
                <a:latin typeface="+mn-lt"/>
                <a:ea typeface="Roboto" panose="02000000000000000000" pitchFamily="2" charset="0"/>
                <a:cs typeface="Arial Black" panose="020B0604020202020204" pitchFamily="34" charset="0"/>
                <a:hlinkClick r:id="rId3"/>
              </a:rPr>
              <a:t>Макет презентации</a:t>
            </a:r>
            <a:endParaRPr lang="ru-RU" altLang="ru-RU" sz="1867" b="1" dirty="0">
              <a:solidFill>
                <a:srgbClr val="003D4C"/>
              </a:solidFill>
              <a:latin typeface="+mn-lt"/>
              <a:ea typeface="Roboto" panose="02000000000000000000" pitchFamily="2" charset="0"/>
              <a:cs typeface="Arial Black" panose="020B0604020202020204" pitchFamily="34" charset="0"/>
            </a:endParaRPr>
          </a:p>
        </p:txBody>
      </p:sp>
      <p:pic>
        <p:nvPicPr>
          <p:cNvPr id="44" name="Рисунок 24">
            <a:extLst>
              <a:ext uri="{FF2B5EF4-FFF2-40B4-BE49-F238E27FC236}">
                <a16:creationId xmlns:a16="http://schemas.microsoft.com/office/drawing/2014/main" id="{B4853B1E-4E92-8546-86DA-08BCDE72348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414837">
            <a:off x="3296930" y="3867044"/>
            <a:ext cx="675081" cy="62404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45" name="TextBox 7">
            <a:extLst>
              <a:ext uri="{FF2B5EF4-FFF2-40B4-BE49-F238E27FC236}">
                <a16:creationId xmlns:a16="http://schemas.microsoft.com/office/drawing/2014/main" id="{5F9BDBB6-D5E8-A14B-9227-09FE68C661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25312" y="1157119"/>
            <a:ext cx="5584674" cy="669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indent="0" algn="just" defTabSz="1038622">
              <a:lnSpc>
                <a:spcPts val="2200"/>
              </a:lnSpc>
              <a:spcBef>
                <a:spcPct val="0"/>
              </a:spcBef>
              <a:buNone/>
            </a:pPr>
            <a:r>
              <a:rPr lang="ru-RU" altLang="ru-RU" sz="2000" b="1" dirty="0">
                <a:solidFill>
                  <a:srgbClr val="006077"/>
                </a:solidFill>
                <a:latin typeface="+mn-lt"/>
                <a:ea typeface="Roboto" panose="02000000000000000000" pitchFamily="2" charset="0"/>
                <a:cs typeface="Arial Black" panose="020B0604020202020204" pitchFamily="34" charset="0"/>
              </a:rPr>
              <a:t>Для эффективной подготовки </a:t>
            </a:r>
            <a:r>
              <a:rPr lang="ru-RU" altLang="ru-RU" sz="2000" b="1" dirty="0" smtClean="0">
                <a:solidFill>
                  <a:srgbClr val="006077"/>
                </a:solidFill>
                <a:latin typeface="+mn-lt"/>
                <a:ea typeface="Roboto" panose="02000000000000000000" pitchFamily="2" charset="0"/>
                <a:cs typeface="Arial Black" panose="020B0604020202020204" pitchFamily="34" charset="0"/>
              </a:rPr>
              <a:t>проектов к </a:t>
            </a:r>
            <a:r>
              <a:rPr lang="ru-RU" altLang="ru-RU" sz="2000" b="1" dirty="0">
                <a:solidFill>
                  <a:srgbClr val="006077"/>
                </a:solidFill>
                <a:latin typeface="+mn-lt"/>
                <a:ea typeface="Roboto" panose="02000000000000000000" pitchFamily="2" charset="0"/>
                <a:cs typeface="Arial Black" panose="020B0604020202020204" pitchFamily="34" charset="0"/>
              </a:rPr>
              <a:t>защитам рекомендуем: </a:t>
            </a:r>
          </a:p>
        </p:txBody>
      </p:sp>
      <p:sp>
        <p:nvSpPr>
          <p:cNvPr id="47" name="TextBox 7">
            <a:extLst>
              <a:ext uri="{FF2B5EF4-FFF2-40B4-BE49-F238E27FC236}">
                <a16:creationId xmlns:a16="http://schemas.microsoft.com/office/drawing/2014/main" id="{F786C41B-C429-7449-A78B-E861048551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197" y="2666451"/>
            <a:ext cx="5289339" cy="1878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indent="0" algn="just" defTabSz="1038622">
              <a:lnSpc>
                <a:spcPct val="120000"/>
              </a:lnSpc>
              <a:spcBef>
                <a:spcPct val="0"/>
              </a:spcBef>
              <a:buNone/>
            </a:pPr>
            <a:r>
              <a:rPr lang="ru-RU" altLang="ru-RU" sz="16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Не замыкайтесь на своем предприятии, рассматривайте варианты тиражирования решения на другие предприятия </a:t>
            </a:r>
            <a:r>
              <a:rPr lang="ru-RU" altLang="ru-RU" sz="1600" dirty="0" err="1" smtClean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СИБУРа</a:t>
            </a:r>
            <a:r>
              <a:rPr lang="ru-RU" altLang="ru-RU" sz="1600" dirty="0" smtClean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. Рекомендуем активно взаимодействовать со своим наставником,  </a:t>
            </a:r>
            <a:r>
              <a:rPr lang="ru-RU" altLang="ru-RU" sz="16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с командами, экспертами других предприятий и КЦ при подготовке решений</a:t>
            </a:r>
          </a:p>
        </p:txBody>
      </p: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AE3AAEB1-40C2-6445-87F8-87C07A60E51D}"/>
              </a:ext>
            </a:extLst>
          </p:cNvPr>
          <p:cNvSpPr txBox="1">
            <a:spLocks/>
          </p:cNvSpPr>
          <p:nvPr/>
        </p:nvSpPr>
        <p:spPr>
          <a:xfrm>
            <a:off x="6017173" y="2755350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42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2</a:t>
            </a: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5A93E8DA-B171-4441-A113-5A810AF2C279}"/>
              </a:ext>
            </a:extLst>
          </p:cNvPr>
          <p:cNvSpPr txBox="1">
            <a:spLocks/>
          </p:cNvSpPr>
          <p:nvPr/>
        </p:nvSpPr>
        <p:spPr>
          <a:xfrm>
            <a:off x="6001093" y="4722377"/>
            <a:ext cx="337711" cy="91228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4200" kern="0" dirty="0">
                <a:solidFill>
                  <a:schemeClr val="accent6"/>
                </a:solidFill>
                <a:latin typeface="+mn-lt"/>
                <a:ea typeface="Roboto" panose="02000000000000000000" pitchFamily="2" charset="0"/>
              </a:rPr>
              <a:t>3</a:t>
            </a:r>
          </a:p>
        </p:txBody>
      </p:sp>
      <p:sp>
        <p:nvSpPr>
          <p:cNvPr id="51" name="TextBox 7">
            <a:extLst>
              <a:ext uri="{FF2B5EF4-FFF2-40B4-BE49-F238E27FC236}">
                <a16:creationId xmlns:a16="http://schemas.microsoft.com/office/drawing/2014/main" id="{F8954CFD-0496-3540-8247-B29B6C3C0F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3024" y="4717025"/>
            <a:ext cx="5286536" cy="54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307" tIns="52153" rIns="104307" bIns="52153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 defTabSz="1038622">
              <a:lnSpc>
                <a:spcPts val="1680"/>
              </a:lnSpc>
              <a:buNone/>
            </a:pPr>
            <a:r>
              <a:rPr lang="ru-RU" altLang="ru-RU" sz="1600" dirty="0" err="1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Лайфхаки</a:t>
            </a:r>
            <a:r>
              <a:rPr lang="ru-RU" altLang="ru-RU" sz="1600" dirty="0">
                <a:solidFill>
                  <a:srgbClr val="003D4C"/>
                </a:solidFill>
                <a:latin typeface="+mn-lt"/>
                <a:ea typeface="Roboto" panose="02000000000000000000" pitchFamily="2" charset="0"/>
              </a:rPr>
              <a:t> для успешной работы над проектом,  защиты здесь</a:t>
            </a:r>
            <a:endParaRPr lang="ru-RU" sz="1600" dirty="0">
              <a:solidFill>
                <a:srgbClr val="003D4C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53" name="Скругленный прямоугольник 20">
            <a:extLst>
              <a:ext uri="{FF2B5EF4-FFF2-40B4-BE49-F238E27FC236}">
                <a16:creationId xmlns:a16="http://schemas.microsoft.com/office/drawing/2014/main" id="{90771ECA-0EF9-0F44-BDDF-64263E9E9995}"/>
              </a:ext>
            </a:extLst>
          </p:cNvPr>
          <p:cNvSpPr/>
          <p:nvPr/>
        </p:nvSpPr>
        <p:spPr>
          <a:xfrm>
            <a:off x="7688381" y="5258471"/>
            <a:ext cx="2924418" cy="543632"/>
          </a:xfrm>
          <a:prstGeom prst="round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1038622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870" b="1" dirty="0" smtClean="0">
                <a:solidFill>
                  <a:srgbClr val="003D4C"/>
                </a:solidFill>
                <a:latin typeface="+mn-lt"/>
                <a:ea typeface="Roboto" panose="02000000000000000000" pitchFamily="2" charset="0"/>
                <a:hlinkClick r:id="rId5"/>
              </a:rPr>
              <a:t>Навигатор </a:t>
            </a:r>
            <a:r>
              <a:rPr lang="ru-RU" altLang="ru-RU" sz="1870" b="1" dirty="0">
                <a:solidFill>
                  <a:srgbClr val="003D4C"/>
                </a:solidFill>
                <a:latin typeface="+mn-lt"/>
                <a:ea typeface="Roboto" panose="02000000000000000000" pitchFamily="2" charset="0"/>
                <a:hlinkClick r:id="rId5"/>
              </a:rPr>
              <a:t>для МС</a:t>
            </a:r>
            <a:endParaRPr lang="ru-RU" altLang="ru-RU" sz="1870" b="1" dirty="0">
              <a:solidFill>
                <a:srgbClr val="003D4C"/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56" name="Рисунок 24">
            <a:extLst>
              <a:ext uri="{FF2B5EF4-FFF2-40B4-BE49-F238E27FC236}">
                <a16:creationId xmlns:a16="http://schemas.microsoft.com/office/drawing/2014/main" id="{C7D47AD7-230E-C34B-A010-D6E2DED072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414837">
            <a:off x="10275259" y="5345871"/>
            <a:ext cx="675081" cy="624044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4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439480" y="4550060"/>
            <a:ext cx="463578" cy="467198"/>
          </a:xfrm>
          <a:prstGeom prst="rect">
            <a:avLst/>
          </a:prstGeom>
          <a:solidFill>
            <a:srgbClr val="E67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0531" y="4656712"/>
            <a:ext cx="4817854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57188" indent="-357188"/>
            <a:r>
              <a:rPr lang="ru-RU" sz="1600" dirty="0" smtClean="0">
                <a:solidFill>
                  <a:schemeClr val="tx2"/>
                </a:solidFill>
              </a:rPr>
              <a:t>Максимальное количество слайдов – </a:t>
            </a:r>
            <a:r>
              <a:rPr lang="ru-RU" sz="1600" b="1" u="sng" dirty="0" smtClean="0">
                <a:solidFill>
                  <a:srgbClr val="E04E39"/>
                </a:solidFill>
              </a:rPr>
              <a:t>13</a:t>
            </a:r>
            <a:r>
              <a:rPr lang="en-US" sz="1600" b="1" u="sng" dirty="0" smtClean="0">
                <a:solidFill>
                  <a:srgbClr val="E04E39"/>
                </a:solidFill>
              </a:rPr>
              <a:t> </a:t>
            </a:r>
            <a:r>
              <a:rPr lang="ru-RU" sz="1600" b="1" u="sng" dirty="0" smtClean="0">
                <a:solidFill>
                  <a:srgbClr val="E04E39"/>
                </a:solidFill>
              </a:rPr>
              <a:t>слайдов</a:t>
            </a:r>
            <a:r>
              <a:rPr lang="ru-RU" sz="1600" dirty="0" smtClean="0">
                <a:solidFill>
                  <a:schemeClr val="tx2"/>
                </a:solidFill>
              </a:rPr>
              <a:t>, включая:</a:t>
            </a:r>
          </a:p>
          <a:p>
            <a:pPr marL="630238" indent="-2730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</a:rPr>
              <a:t>слайд с темой проекта, названием команды и предприятия</a:t>
            </a:r>
          </a:p>
          <a:p>
            <a:pPr marL="630238" indent="-2730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</a:rPr>
              <a:t>информация о команде проекта</a:t>
            </a:r>
          </a:p>
          <a:p>
            <a:pPr marL="630238" indent="-2730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</a:rPr>
              <a:t>основная часть – обоснование решения</a:t>
            </a:r>
          </a:p>
          <a:p>
            <a:pPr marL="630238" indent="-2730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</a:rPr>
              <a:t>приложения</a:t>
            </a:r>
          </a:p>
        </p:txBody>
      </p:sp>
    </p:spTree>
    <p:extLst>
      <p:ext uri="{BB962C8B-B14F-4D97-AF65-F5344CB8AC3E}">
        <p14:creationId xmlns:p14="http://schemas.microsoft.com/office/powerpoint/2010/main" val="4254917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Овал 37"/>
          <p:cNvSpPr/>
          <p:nvPr/>
        </p:nvSpPr>
        <p:spPr bwMode="auto">
          <a:xfrm>
            <a:off x="7084203" y="857795"/>
            <a:ext cx="490643" cy="498939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Овал 2"/>
          <p:cNvSpPr/>
          <p:nvPr/>
        </p:nvSpPr>
        <p:spPr bwMode="auto">
          <a:xfrm>
            <a:off x="352118" y="876569"/>
            <a:ext cx="490643" cy="498939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685F0E-1289-46A0-95CF-869C0B0A6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6" y="-13022"/>
            <a:ext cx="11235268" cy="822448"/>
          </a:xfrm>
        </p:spPr>
        <p:txBody>
          <a:bodyPr anchor="ctr">
            <a:normAutofit/>
          </a:bodyPr>
          <a:lstStyle/>
          <a:p>
            <a:pPr algn="l"/>
            <a:r>
              <a:rPr lang="ru-RU" sz="38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</a:rPr>
              <a:t>Экспертная комиссия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A814DF17-AE42-43DA-9A95-32FCC4B5A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368" y="958417"/>
            <a:ext cx="381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Экспертная комиссия:</a:t>
            </a:r>
          </a:p>
        </p:txBody>
      </p:sp>
      <p:sp>
        <p:nvSpPr>
          <p:cNvPr id="8" name="Прямоугольник 16">
            <a:extLst>
              <a:ext uri="{FF2B5EF4-FFF2-40B4-BE49-F238E27FC236}">
                <a16:creationId xmlns:a16="http://schemas.microsoft.com/office/drawing/2014/main" id="{D2D1942D-C50E-9B4C-934E-10A02239CB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8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B35FE2-6E9A-244F-8F3D-1D462ABBEB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367" y="1370763"/>
            <a:ext cx="6380153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создается с целью оценки решений команд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и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определения победителей этапа*</a:t>
            </a:r>
          </a:p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состоит из 5-6 руководителей / экспертов 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о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направлениям</a:t>
            </a:r>
          </a:p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редоставляет обратную связь командам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 </a:t>
            </a: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о итогам </a:t>
            </a:r>
            <a:r>
              <a:rPr lang="ru-RU" altLang="ru-RU" sz="1600" dirty="0" smtClean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выступления</a:t>
            </a:r>
            <a:endParaRPr lang="ru-RU" altLang="ru-RU" sz="160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F69A722A-793E-9247-BCE1-D5CB0BE21B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0346" y="958417"/>
            <a:ext cx="4938251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Председатель Экспертной комиссии: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10E90A-645B-AE49-B477-3A7600D8C4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07773" y="1380032"/>
            <a:ext cx="4786108" cy="198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координирует работу экспертов </a:t>
            </a:r>
          </a:p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подводит итоги выступления команд </a:t>
            </a:r>
          </a:p>
          <a:p>
            <a:pPr marL="239178" lvl="1" indent="-239178" algn="just">
              <a:lnSpc>
                <a:spcPct val="120000"/>
              </a:lnSpc>
              <a:spcBef>
                <a:spcPct val="0"/>
              </a:spcBef>
              <a:buClr>
                <a:srgbClr val="148790"/>
              </a:buClr>
              <a:buFont typeface="Wingdings" panose="05000000000000000000" pitchFamily="2" charset="2"/>
              <a:buChar char="§"/>
            </a:pPr>
            <a:r>
              <a:rPr lang="ru-RU" altLang="ru-RU" sz="1600" dirty="0">
                <a:solidFill>
                  <a:srgbClr val="082F3D"/>
                </a:solidFill>
                <a:latin typeface="+mn-lt"/>
                <a:ea typeface="Roboto" panose="02000000000000000000" pitchFamily="2" charset="0"/>
              </a:rPr>
              <a:t>подписывает протокол </a:t>
            </a:r>
          </a:p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endParaRPr lang="ru-RU" altLang="ru-RU" sz="160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  <a:p>
            <a:pPr marL="228594" lvl="1" indent="-228594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Font typeface="Wingdings" panose="05000000000000000000" pitchFamily="2" charset="2"/>
              <a:buChar char="§"/>
              <a:defRPr/>
            </a:pPr>
            <a:endParaRPr lang="ru-RU" altLang="ru-RU" sz="1600" dirty="0">
              <a:solidFill>
                <a:srgbClr val="082F3D"/>
              </a:solidFill>
              <a:latin typeface="+mn-lt"/>
              <a:ea typeface="Roboto" panose="02000000000000000000" pitchFamily="2" charset="0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4" name="Прямоугольник: скругленные углы 5">
            <a:extLst>
              <a:ext uri="{FF2B5EF4-FFF2-40B4-BE49-F238E27FC236}">
                <a16:creationId xmlns:a16="http://schemas.microsoft.com/office/drawing/2014/main" id="{83C4FCEF-289B-8443-9A8A-6554CA977441}"/>
              </a:ext>
            </a:extLst>
          </p:cNvPr>
          <p:cNvSpPr/>
          <p:nvPr/>
        </p:nvSpPr>
        <p:spPr>
          <a:xfrm>
            <a:off x="473075" y="4260647"/>
            <a:ext cx="2057766" cy="1691712"/>
          </a:xfrm>
          <a:prstGeom prst="roundRect">
            <a:avLst>
              <a:gd name="adj" fmla="val 5237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5400000" algn="ctr" rotWithShape="0">
              <a:schemeClr val="tx1">
                <a:alpha val="4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76A6B8-161F-7E4B-A432-6330093B6F29}"/>
              </a:ext>
            </a:extLst>
          </p:cNvPr>
          <p:cNvSpPr txBox="1"/>
          <p:nvPr/>
        </p:nvSpPr>
        <p:spPr>
          <a:xfrm>
            <a:off x="483149" y="4341397"/>
            <a:ext cx="20333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a typeface="Roboto" panose="02000000000000000000" pitchFamily="2" charset="0"/>
              </a:rPr>
              <a:t>технология</a:t>
            </a:r>
          </a:p>
        </p:txBody>
      </p:sp>
      <p:sp>
        <p:nvSpPr>
          <p:cNvPr id="16" name="Прямоугольник: скругленные углы 34">
            <a:extLst>
              <a:ext uri="{FF2B5EF4-FFF2-40B4-BE49-F238E27FC236}">
                <a16:creationId xmlns:a16="http://schemas.microsoft.com/office/drawing/2014/main" id="{70C270F2-A938-F840-A0CA-80D8CE821063}"/>
              </a:ext>
            </a:extLst>
          </p:cNvPr>
          <p:cNvSpPr/>
          <p:nvPr/>
        </p:nvSpPr>
        <p:spPr>
          <a:xfrm>
            <a:off x="2753995" y="4260647"/>
            <a:ext cx="2057766" cy="1691712"/>
          </a:xfrm>
          <a:prstGeom prst="roundRect">
            <a:avLst>
              <a:gd name="adj" fmla="val 5237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5400000" algn="ctr" rotWithShape="0">
              <a:schemeClr val="tx1">
                <a:alpha val="4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889DE7D-A3AA-6044-B0B5-371726378A52}"/>
              </a:ext>
            </a:extLst>
          </p:cNvPr>
          <p:cNvSpPr txBox="1"/>
          <p:nvPr/>
        </p:nvSpPr>
        <p:spPr>
          <a:xfrm>
            <a:off x="2764069" y="4341397"/>
            <a:ext cx="20476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a typeface="Roboto" panose="02000000000000000000" pitchFamily="2" charset="0"/>
              </a:rPr>
              <a:t>экономика</a:t>
            </a:r>
          </a:p>
        </p:txBody>
      </p:sp>
      <p:sp>
        <p:nvSpPr>
          <p:cNvPr id="18" name="Прямоугольник: скругленные углы 36">
            <a:extLst>
              <a:ext uri="{FF2B5EF4-FFF2-40B4-BE49-F238E27FC236}">
                <a16:creationId xmlns:a16="http://schemas.microsoft.com/office/drawing/2014/main" id="{3AD91FF9-CC0E-444A-A1CF-1B880AF6ACC8}"/>
              </a:ext>
            </a:extLst>
          </p:cNvPr>
          <p:cNvSpPr/>
          <p:nvPr/>
        </p:nvSpPr>
        <p:spPr>
          <a:xfrm>
            <a:off x="5049240" y="4260647"/>
            <a:ext cx="2057766" cy="1691712"/>
          </a:xfrm>
          <a:prstGeom prst="roundRect">
            <a:avLst>
              <a:gd name="adj" fmla="val 5237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5400000" algn="ctr" rotWithShape="0">
              <a:schemeClr val="tx1">
                <a:alpha val="4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9419A7-069C-DC47-935E-7C63E9802331}"/>
              </a:ext>
            </a:extLst>
          </p:cNvPr>
          <p:cNvSpPr txBox="1"/>
          <p:nvPr/>
        </p:nvSpPr>
        <p:spPr>
          <a:xfrm>
            <a:off x="5054996" y="4341397"/>
            <a:ext cx="200000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a typeface="Roboto" panose="02000000000000000000" pitchFamily="2" charset="0"/>
              </a:rPr>
              <a:t>оригинальность и новизна решения </a:t>
            </a:r>
            <a:r>
              <a:rPr lang="en-US" sz="1400" b="1" dirty="0">
                <a:ea typeface="Roboto" panose="02000000000000000000" pitchFamily="2" charset="0"/>
              </a:rPr>
              <a:t>(</a:t>
            </a:r>
            <a:r>
              <a:rPr lang="ru-RU" sz="1400" b="1" dirty="0" err="1">
                <a:ea typeface="Roboto" panose="02000000000000000000" pitchFamily="2" charset="0"/>
              </a:rPr>
              <a:t>инновационность</a:t>
            </a:r>
            <a:r>
              <a:rPr lang="en-US" sz="1400" b="1" dirty="0">
                <a:ea typeface="Roboto" panose="02000000000000000000" pitchFamily="2" charset="0"/>
              </a:rPr>
              <a:t>)</a:t>
            </a:r>
            <a:endParaRPr lang="ru-RU" sz="1400" b="1" dirty="0">
              <a:ea typeface="Roboto" panose="02000000000000000000" pitchFamily="2" charset="0"/>
            </a:endParaRPr>
          </a:p>
        </p:txBody>
      </p:sp>
      <p:sp>
        <p:nvSpPr>
          <p:cNvPr id="20" name="Прямоугольник: скругленные углы 38">
            <a:extLst>
              <a:ext uri="{FF2B5EF4-FFF2-40B4-BE49-F238E27FC236}">
                <a16:creationId xmlns:a16="http://schemas.microsoft.com/office/drawing/2014/main" id="{E88AE31D-1FDD-B349-AD0A-6F333A78581C}"/>
              </a:ext>
            </a:extLst>
          </p:cNvPr>
          <p:cNvSpPr/>
          <p:nvPr/>
        </p:nvSpPr>
        <p:spPr>
          <a:xfrm>
            <a:off x="7344485" y="4260647"/>
            <a:ext cx="2057766" cy="1691712"/>
          </a:xfrm>
          <a:prstGeom prst="roundRect">
            <a:avLst>
              <a:gd name="adj" fmla="val 5237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5400000" algn="ctr" rotWithShape="0">
              <a:schemeClr val="tx1">
                <a:alpha val="4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03A3E5-C225-C243-8E34-7E37D681C6F4}"/>
              </a:ext>
            </a:extLst>
          </p:cNvPr>
          <p:cNvSpPr txBox="1"/>
          <p:nvPr/>
        </p:nvSpPr>
        <p:spPr>
          <a:xfrm>
            <a:off x="7354559" y="4341397"/>
            <a:ext cx="20050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a typeface="Roboto" panose="02000000000000000000" pitchFamily="2" charset="0"/>
              </a:rPr>
              <a:t>презентация и выступление </a:t>
            </a:r>
          </a:p>
        </p:txBody>
      </p:sp>
      <p:sp>
        <p:nvSpPr>
          <p:cNvPr id="22" name="Прямоугольник: скругленные углы 40">
            <a:extLst>
              <a:ext uri="{FF2B5EF4-FFF2-40B4-BE49-F238E27FC236}">
                <a16:creationId xmlns:a16="http://schemas.microsoft.com/office/drawing/2014/main" id="{90F21566-57EE-0840-AD38-89E2337E12E0}"/>
              </a:ext>
            </a:extLst>
          </p:cNvPr>
          <p:cNvSpPr/>
          <p:nvPr/>
        </p:nvSpPr>
        <p:spPr>
          <a:xfrm>
            <a:off x="9639730" y="4260647"/>
            <a:ext cx="2057766" cy="1691712"/>
          </a:xfrm>
          <a:prstGeom prst="roundRect">
            <a:avLst>
              <a:gd name="adj" fmla="val 5237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5400000" algn="ctr" rotWithShape="0">
              <a:schemeClr val="tx1">
                <a:alpha val="4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5A8C65E-B097-004C-B8E7-73DBDC3E31EF}"/>
              </a:ext>
            </a:extLst>
          </p:cNvPr>
          <p:cNvSpPr txBox="1"/>
          <p:nvPr/>
        </p:nvSpPr>
        <p:spPr>
          <a:xfrm>
            <a:off x="9650805" y="4341397"/>
            <a:ext cx="204669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ea typeface="Roboto" panose="02000000000000000000" pitchFamily="2" charset="0"/>
              </a:rPr>
              <a:t>ответы </a:t>
            </a:r>
            <a:br>
              <a:rPr lang="ru-RU" sz="1400" b="1" dirty="0">
                <a:ea typeface="Roboto" panose="02000000000000000000" pitchFamily="2" charset="0"/>
              </a:rPr>
            </a:br>
            <a:r>
              <a:rPr lang="ru-RU" sz="1400" b="1" dirty="0">
                <a:ea typeface="Roboto" panose="02000000000000000000" pitchFamily="2" charset="0"/>
              </a:rPr>
              <a:t>на вопросы экспертов 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0454181-5A1D-D646-9740-2C0C2A1330BC}"/>
              </a:ext>
            </a:extLst>
          </p:cNvPr>
          <p:cNvSpPr txBox="1">
            <a:spLocks/>
          </p:cNvSpPr>
          <p:nvPr/>
        </p:nvSpPr>
        <p:spPr>
          <a:xfrm>
            <a:off x="579572" y="5179389"/>
            <a:ext cx="1818187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0,25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0B10B3C3-F01C-1248-99E0-C41D86150F45}"/>
              </a:ext>
            </a:extLst>
          </p:cNvPr>
          <p:cNvSpPr txBox="1">
            <a:spLocks/>
          </p:cNvSpPr>
          <p:nvPr/>
        </p:nvSpPr>
        <p:spPr>
          <a:xfrm>
            <a:off x="2873784" y="5179389"/>
            <a:ext cx="1818187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0,2</a:t>
            </a: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AFCE8183-152C-234A-83A0-346C70BD5DBA}"/>
              </a:ext>
            </a:extLst>
          </p:cNvPr>
          <p:cNvSpPr txBox="1">
            <a:spLocks/>
          </p:cNvSpPr>
          <p:nvPr/>
        </p:nvSpPr>
        <p:spPr>
          <a:xfrm>
            <a:off x="5155737" y="5179389"/>
            <a:ext cx="1818187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0,2</a:t>
            </a: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31CA51DE-EC7C-5542-A5C8-62E0F5A3C39A}"/>
              </a:ext>
            </a:extLst>
          </p:cNvPr>
          <p:cNvSpPr txBox="1">
            <a:spLocks/>
          </p:cNvSpPr>
          <p:nvPr/>
        </p:nvSpPr>
        <p:spPr>
          <a:xfrm>
            <a:off x="9747228" y="5179389"/>
            <a:ext cx="1818187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2</a:t>
            </a: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5F43602-DC14-C749-B348-656FE83A9E77}"/>
              </a:ext>
            </a:extLst>
          </p:cNvPr>
          <p:cNvSpPr txBox="1">
            <a:spLocks/>
          </p:cNvSpPr>
          <p:nvPr/>
        </p:nvSpPr>
        <p:spPr>
          <a:xfrm>
            <a:off x="7464274" y="5179389"/>
            <a:ext cx="1818187" cy="7017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0,15</a:t>
            </a:r>
          </a:p>
        </p:txBody>
      </p:sp>
      <p:cxnSp>
        <p:nvCxnSpPr>
          <p:cNvPr id="29" name="Прямая соединительная линия 8">
            <a:extLst>
              <a:ext uri="{FF2B5EF4-FFF2-40B4-BE49-F238E27FC236}">
                <a16:creationId xmlns:a16="http://schemas.microsoft.com/office/drawing/2014/main" id="{CD929A89-4F9F-AE42-9DC6-81DCAC780595}"/>
              </a:ext>
            </a:extLst>
          </p:cNvPr>
          <p:cNvCxnSpPr/>
          <p:nvPr/>
        </p:nvCxnSpPr>
        <p:spPr>
          <a:xfrm>
            <a:off x="492219" y="5156090"/>
            <a:ext cx="19217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49">
            <a:extLst>
              <a:ext uri="{FF2B5EF4-FFF2-40B4-BE49-F238E27FC236}">
                <a16:creationId xmlns:a16="http://schemas.microsoft.com/office/drawing/2014/main" id="{4B9A8F36-EA72-D24D-A06F-39F32C443F7F}"/>
              </a:ext>
            </a:extLst>
          </p:cNvPr>
          <p:cNvCxnSpPr/>
          <p:nvPr/>
        </p:nvCxnSpPr>
        <p:spPr>
          <a:xfrm>
            <a:off x="2786431" y="5156090"/>
            <a:ext cx="19217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50">
            <a:extLst>
              <a:ext uri="{FF2B5EF4-FFF2-40B4-BE49-F238E27FC236}">
                <a16:creationId xmlns:a16="http://schemas.microsoft.com/office/drawing/2014/main" id="{06ECD38F-D205-B74A-9905-106577B97F4A}"/>
              </a:ext>
            </a:extLst>
          </p:cNvPr>
          <p:cNvCxnSpPr/>
          <p:nvPr/>
        </p:nvCxnSpPr>
        <p:spPr>
          <a:xfrm>
            <a:off x="5068384" y="5156090"/>
            <a:ext cx="19217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51">
            <a:extLst>
              <a:ext uri="{FF2B5EF4-FFF2-40B4-BE49-F238E27FC236}">
                <a16:creationId xmlns:a16="http://schemas.microsoft.com/office/drawing/2014/main" id="{1E0A3E3A-849A-5040-ADEA-9E7D98FE95EE}"/>
              </a:ext>
            </a:extLst>
          </p:cNvPr>
          <p:cNvCxnSpPr/>
          <p:nvPr/>
        </p:nvCxnSpPr>
        <p:spPr>
          <a:xfrm>
            <a:off x="7437880" y="5156090"/>
            <a:ext cx="19217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52">
            <a:extLst>
              <a:ext uri="{FF2B5EF4-FFF2-40B4-BE49-F238E27FC236}">
                <a16:creationId xmlns:a16="http://schemas.microsoft.com/office/drawing/2014/main" id="{2226FA3B-1C79-7C46-ADC8-11FD8A9EACDA}"/>
              </a:ext>
            </a:extLst>
          </p:cNvPr>
          <p:cNvCxnSpPr/>
          <p:nvPr/>
        </p:nvCxnSpPr>
        <p:spPr>
          <a:xfrm>
            <a:off x="9659875" y="5156090"/>
            <a:ext cx="19217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10">
            <a:extLst>
              <a:ext uri="{FF2B5EF4-FFF2-40B4-BE49-F238E27FC236}">
                <a16:creationId xmlns:a16="http://schemas.microsoft.com/office/drawing/2014/main" id="{DBE08E63-D9EA-D34A-8DBB-A8EE173027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352118" y="3183132"/>
            <a:ext cx="1282360" cy="52143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E0DFBBB-F1F4-8641-871B-AFE80343E8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14139" y="3280601"/>
            <a:ext cx="1017147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defTabSz="1038622">
              <a:lnSpc>
                <a:spcPct val="100000"/>
              </a:lnSpc>
              <a:spcBef>
                <a:spcPct val="0"/>
              </a:spcBef>
              <a:spcAft>
                <a:spcPts val="1600"/>
              </a:spcAft>
              <a:buClr>
                <a:srgbClr val="148790"/>
              </a:buClr>
              <a:buNone/>
              <a:defRPr/>
            </a:pPr>
            <a:r>
              <a:rPr lang="ru-RU" altLang="ru-RU" sz="16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Оценка проектов производится по единой </a:t>
            </a:r>
            <a:r>
              <a:rPr lang="ru-RU" altLang="ru-RU" sz="1600" b="1" dirty="0" smtClean="0">
                <a:solidFill>
                  <a:srgbClr val="E14E3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методологии международного </a:t>
            </a:r>
            <a:r>
              <a:rPr lang="ru-RU" altLang="ru-RU" sz="16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чемпионата </a:t>
            </a:r>
            <a:r>
              <a:rPr lang="en-GB" altLang="ru-RU" sz="1600" b="1" dirty="0">
                <a:solidFill>
                  <a:srgbClr val="E14E39"/>
                </a:solidFill>
                <a:latin typeface="+mn-lt"/>
                <a:ea typeface="Roboto" panose="02000000000000000000" pitchFamily="2" charset="0"/>
                <a:cs typeface="Times New Roman" panose="02020603050405020304" pitchFamily="18" charset="0"/>
                <a:sym typeface="Arial"/>
              </a:rPr>
              <a:t>Case-i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F5AF13B-1BAB-B848-9A25-049D07EB774A}"/>
              </a:ext>
            </a:extLst>
          </p:cNvPr>
          <p:cNvSpPr txBox="1"/>
          <p:nvPr/>
        </p:nvSpPr>
        <p:spPr>
          <a:xfrm>
            <a:off x="492219" y="6328470"/>
            <a:ext cx="676749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i="1" dirty="0">
                <a:ea typeface="Roboto" panose="02000000000000000000" pitchFamily="2" charset="0"/>
              </a:rPr>
              <a:t>*Эксперты оценивают команды с помощью специального программного обеспечения</a:t>
            </a:r>
          </a:p>
        </p:txBody>
      </p:sp>
      <p:sp>
        <p:nvSpPr>
          <p:cNvPr id="39" name="TextBox 4">
            <a:extLst>
              <a:ext uri="{FF2B5EF4-FFF2-40B4-BE49-F238E27FC236}">
                <a16:creationId xmlns:a16="http://schemas.microsoft.com/office/drawing/2014/main" id="{A814DF17-AE42-43DA-9A95-32FCC4B5A8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759" y="3805706"/>
            <a:ext cx="5328602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Критерии</a:t>
            </a:r>
            <a:r>
              <a:rPr kumimoji="0" lang="ru-RU" alt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 оценки / весовые коэффициенты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077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: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006077"/>
              </a:solidFill>
              <a:effectLst/>
              <a:uLnTx/>
              <a:uFillTx/>
              <a:latin typeface="+mn-lt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3084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8631000" y="1014101"/>
            <a:ext cx="617024" cy="621841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>
              <a:cs typeface="Arial" panose="020B0604020202020204" pitchFamily="34" charset="0"/>
            </a:endParaRP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E917D116-EB90-48CE-A3BB-84BA621BD195}"/>
              </a:ext>
            </a:extLst>
          </p:cNvPr>
          <p:cNvSpPr/>
          <p:nvPr/>
        </p:nvSpPr>
        <p:spPr>
          <a:xfrm rot="18900000">
            <a:off x="4846967" y="1014101"/>
            <a:ext cx="617024" cy="621841"/>
          </a:xfrm>
          <a:prstGeom prst="rect">
            <a:avLst/>
          </a:prstGeom>
          <a:solidFill>
            <a:srgbClr val="77E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>
              <a:cs typeface="Arial" panose="020B0604020202020204" pitchFamily="34" charset="0"/>
            </a:endParaRPr>
          </a:p>
        </p:txBody>
      </p:sp>
      <p:sp>
        <p:nvSpPr>
          <p:cNvPr id="46" name="Заголовок 1">
            <a:extLst>
              <a:ext uri="{FF2B5EF4-FFF2-40B4-BE49-F238E27FC236}">
                <a16:creationId xmlns:a16="http://schemas.microsoft.com/office/drawing/2014/main" id="{C20E427A-7CF6-44E8-A29E-CEE225746EDF}"/>
              </a:ext>
            </a:extLst>
          </p:cNvPr>
          <p:cNvSpPr txBox="1">
            <a:spLocks/>
          </p:cNvSpPr>
          <p:nvPr/>
        </p:nvSpPr>
        <p:spPr>
          <a:xfrm>
            <a:off x="4916005" y="1036343"/>
            <a:ext cx="817736" cy="6463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6</a:t>
            </a:r>
          </a:p>
        </p:txBody>
      </p:sp>
      <p:sp>
        <p:nvSpPr>
          <p:cNvPr id="47" name="TextBox 4">
            <a:extLst>
              <a:ext uri="{FF2B5EF4-FFF2-40B4-BE49-F238E27FC236}">
                <a16:creationId xmlns:a16="http://schemas.microsoft.com/office/drawing/2014/main" id="{19510EF3-D324-4718-8D91-3A57C0E07D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41708" y="1032333"/>
            <a:ext cx="273289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ts val="15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минут презентация решения команды, выступают все участники команды</a:t>
            </a: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9927874-AA2E-49B3-A7E4-CF7E8F02DEF9}"/>
              </a:ext>
            </a:extLst>
          </p:cNvPr>
          <p:cNvSpPr txBox="1">
            <a:spLocks/>
          </p:cNvSpPr>
          <p:nvPr/>
        </p:nvSpPr>
        <p:spPr>
          <a:xfrm>
            <a:off x="8490731" y="1036343"/>
            <a:ext cx="1244040" cy="6463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Roboto" panose="02000000000000000000" pitchFamily="2" charset="0"/>
              </a:rPr>
              <a:t>5-7</a:t>
            </a:r>
            <a:endParaRPr lang="ru-RU" sz="4000" b="1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51" name="TextBox 4">
            <a:extLst>
              <a:ext uri="{FF2B5EF4-FFF2-40B4-BE49-F238E27FC236}">
                <a16:creationId xmlns:a16="http://schemas.microsoft.com/office/drawing/2014/main" id="{17F8B236-56EE-4371-BA8E-6EF2772E77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34532" y="1032333"/>
            <a:ext cx="218965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ts val="15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но не более 10 минут </a:t>
            </a: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— вопросы от экспертов команде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6D87DBFA-87DE-7141-834E-521081E14ADD}"/>
              </a:ext>
            </a:extLst>
          </p:cNvPr>
          <p:cNvSpPr txBox="1">
            <a:spLocks/>
          </p:cNvSpPr>
          <p:nvPr/>
        </p:nvSpPr>
        <p:spPr>
          <a:xfrm>
            <a:off x="462280" y="1"/>
            <a:ext cx="10972800" cy="8415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667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6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0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3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3800" kern="0" dirty="0">
                <a:solidFill>
                  <a:srgbClr val="006077"/>
                </a:solidFill>
                <a:latin typeface="+mn-lt"/>
                <a:ea typeface="Roboto" panose="02000000000000000000" pitchFamily="2" charset="0"/>
              </a:rPr>
              <a:t>Защита проектов</a:t>
            </a:r>
          </a:p>
        </p:txBody>
      </p:sp>
      <p:sp>
        <p:nvSpPr>
          <p:cNvPr id="22" name="Прямоугольник 16">
            <a:extLst>
              <a:ext uri="{FF2B5EF4-FFF2-40B4-BE49-F238E27FC236}">
                <a16:creationId xmlns:a16="http://schemas.microsoft.com/office/drawing/2014/main" id="{B67A259D-BA06-A648-8699-1664A6690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1361" y="193359"/>
            <a:ext cx="606425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lvl="1" algn="r" defTabSz="1038622">
              <a:lnSpc>
                <a:spcPct val="150000"/>
              </a:lnSpc>
              <a:spcBef>
                <a:spcPct val="0"/>
              </a:spcBef>
              <a:buNone/>
            </a:pPr>
            <a:r>
              <a:rPr lang="en-US" altLang="ru-RU" sz="900" dirty="0">
                <a:solidFill>
                  <a:srgbClr val="007C89"/>
                </a:solidFill>
                <a:latin typeface="+mn-lt"/>
                <a:cs typeface="Times New Roman" panose="02020603050405020304" pitchFamily="18" charset="0"/>
              </a:rPr>
              <a:t>I</a:t>
            </a:r>
            <a:r>
              <a:rPr lang="en-US" altLang="ru-RU" sz="900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 </a:t>
            </a:r>
            <a:r>
              <a:rPr lang="en-US" altLang="ru-RU" sz="900" b="1" dirty="0">
                <a:solidFill>
                  <a:srgbClr val="002F3B"/>
                </a:solidFill>
                <a:latin typeface="+mn-lt"/>
                <a:cs typeface="Times New Roman" panose="02020603050405020304" pitchFamily="18" charset="0"/>
              </a:rPr>
              <a:t>9</a:t>
            </a:r>
            <a:endParaRPr lang="ru-RU" altLang="ru-RU" sz="900" b="1" dirty="0">
              <a:solidFill>
                <a:srgbClr val="002F3B"/>
              </a:solidFill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23" name="TextBox 4">
            <a:extLst>
              <a:ext uri="{FF2B5EF4-FFF2-40B4-BE49-F238E27FC236}">
                <a16:creationId xmlns:a16="http://schemas.microsoft.com/office/drawing/2014/main" id="{759E46FE-39CD-3646-B7B0-F1C8268643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2541" y="1062813"/>
            <a:ext cx="337161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1" indent="0" defTabSz="778986" rtl="0" eaLnBrk="1" fontAlgn="auto" latinLnBrk="0" hangingPunct="1">
              <a:lnSpc>
                <a:spcPts val="15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400" b="1" u="none" strike="noStrike" kern="1200" cap="none" spc="0" normalizeH="0" baseline="0" noProof="0" dirty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Регламент на презентацию решения и ответы на вопросы экспертной </a:t>
            </a:r>
            <a:r>
              <a:rPr kumimoji="0" lang="ru-RU" altLang="ru-RU" sz="1400" b="1" u="none" strike="noStrike" kern="1200" cap="none" spc="0" normalizeH="0" baseline="0" noProof="0" dirty="0" smtClean="0">
                <a:ln>
                  <a:noFill/>
                </a:ln>
                <a:solidFill>
                  <a:srgbClr val="007C89"/>
                </a:solidFill>
                <a:effectLst/>
                <a:uLnTx/>
                <a:uFillTx/>
                <a:latin typeface="+mn-lt"/>
                <a:ea typeface="Roboto" panose="02000000000000000000" pitchFamily="2" charset="0"/>
                <a:cs typeface="Times New Roman" panose="02020603050405020304" pitchFamily="18" charset="0"/>
              </a:rPr>
              <a:t>комиссии:</a:t>
            </a:r>
            <a:endParaRPr kumimoji="0" lang="ru-RU" altLang="ru-RU" sz="1400" b="1" u="none" strike="noStrike" kern="1200" cap="none" spc="0" normalizeH="0" baseline="0" noProof="0" dirty="0">
              <a:ln>
                <a:noFill/>
              </a:ln>
              <a:solidFill>
                <a:srgbClr val="007C89"/>
              </a:solidFill>
              <a:effectLst/>
              <a:uLnTx/>
              <a:uFillTx/>
              <a:latin typeface="+mn-lt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cxnSp>
        <p:nvCxnSpPr>
          <p:cNvPr id="14" name="Прямая соединительная линия 11">
            <a:extLst>
              <a:ext uri="{FF2B5EF4-FFF2-40B4-BE49-F238E27FC236}">
                <a16:creationId xmlns:a16="http://schemas.microsoft.com/office/drawing/2014/main" id="{4EEE2EA1-6466-DD46-B80E-FF9BE5F3C7E1}"/>
              </a:ext>
            </a:extLst>
          </p:cNvPr>
          <p:cNvCxnSpPr>
            <a:cxnSpLocks/>
          </p:cNvCxnSpPr>
          <p:nvPr/>
        </p:nvCxnSpPr>
        <p:spPr>
          <a:xfrm flipH="1">
            <a:off x="479425" y="1916113"/>
            <a:ext cx="11304588" cy="0"/>
          </a:xfrm>
          <a:prstGeom prst="line">
            <a:avLst/>
          </a:prstGeom>
          <a:ln>
            <a:solidFill>
              <a:srgbClr val="E14E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8C9FFAA-FCB5-F64E-B24E-4025AC3769B1}"/>
              </a:ext>
            </a:extLst>
          </p:cNvPr>
          <p:cNvSpPr txBox="1"/>
          <p:nvPr/>
        </p:nvSpPr>
        <p:spPr>
          <a:xfrm>
            <a:off x="372540" y="2301510"/>
            <a:ext cx="40451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E14E39"/>
                </a:solidFill>
                <a:ea typeface="Roboto" panose="02000000000000000000" pitchFamily="2" charset="0"/>
              </a:rPr>
              <a:t>Подведение </a:t>
            </a:r>
            <a:r>
              <a:rPr lang="ru-RU" sz="1600" b="1" dirty="0" smtClean="0">
                <a:solidFill>
                  <a:srgbClr val="E14E39"/>
                </a:solidFill>
                <a:ea typeface="Roboto" panose="02000000000000000000" pitchFamily="2" charset="0"/>
              </a:rPr>
              <a:t>итогов защиты проектов</a:t>
            </a:r>
            <a:endParaRPr lang="ru-RU" sz="1600" b="1" dirty="0">
              <a:solidFill>
                <a:srgbClr val="E14E39"/>
              </a:solidFill>
              <a:ea typeface="Roboto" panose="02000000000000000000" pitchFamily="2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300B275-4DAE-5544-A1D5-029D03AF59E2}"/>
              </a:ext>
            </a:extLst>
          </p:cNvPr>
          <p:cNvSpPr txBox="1"/>
          <p:nvPr/>
        </p:nvSpPr>
        <p:spPr>
          <a:xfrm>
            <a:off x="380999" y="2786776"/>
            <a:ext cx="789360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ea typeface="Roboto" panose="02000000000000000000" pitchFamily="2" charset="0"/>
              </a:rPr>
              <a:t>При подсчете баллов по каждому критерию удаляется 1 наибольшая и 1 наименьшая оценка </a:t>
            </a:r>
            <a:r>
              <a:rPr lang="ru-RU" sz="1400" i="1" dirty="0">
                <a:ea typeface="Roboto" panose="02000000000000000000" pitchFamily="2" charset="0"/>
              </a:rPr>
              <a:t>(если экспертов больше 6 человек)</a:t>
            </a:r>
          </a:p>
          <a:p>
            <a:pPr algn="just"/>
            <a:endParaRPr lang="ru-RU" sz="1400" dirty="0">
              <a:ea typeface="Roboto" panose="02000000000000000000" pitchFamily="2" charset="0"/>
            </a:endParaRPr>
          </a:p>
          <a:p>
            <a:pPr algn="just"/>
            <a:r>
              <a:rPr lang="ru-RU" sz="1400" dirty="0">
                <a:ea typeface="Roboto" panose="02000000000000000000" pitchFamily="2" charset="0"/>
              </a:rPr>
              <a:t>По каждому из 5 критериев высчитывается среднее значение оценок экспертов, которое умножается на весовой коэффициент</a:t>
            </a:r>
          </a:p>
          <a:p>
            <a:pPr algn="just"/>
            <a:endParaRPr lang="ru-RU" sz="1400" dirty="0">
              <a:ea typeface="Roboto" panose="02000000000000000000" pitchFamily="2" charset="0"/>
            </a:endParaRPr>
          </a:p>
          <a:p>
            <a:pPr algn="just"/>
            <a:r>
              <a:rPr lang="ru-RU" sz="1400" dirty="0">
                <a:ea typeface="Roboto" panose="02000000000000000000" pitchFamily="2" charset="0"/>
              </a:rPr>
              <a:t>Оценки по 5 критериям суммируются для получения общего балла по критериям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D41289-2C71-6148-BD54-8B82A91DBB33}"/>
              </a:ext>
            </a:extLst>
          </p:cNvPr>
          <p:cNvSpPr txBox="1"/>
          <p:nvPr/>
        </p:nvSpPr>
        <p:spPr>
          <a:xfrm>
            <a:off x="380999" y="4472460"/>
            <a:ext cx="7893603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400" b="1" dirty="0">
                <a:ea typeface="Roboto" panose="02000000000000000000" pitchFamily="2" charset="0"/>
              </a:rPr>
              <a:t>Команде могут быть начислены дополнительные и штрафные баллы:</a:t>
            </a:r>
          </a:p>
          <a:p>
            <a:pPr marL="274638" indent="-274638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ea typeface="Roboto" panose="02000000000000000000" pitchFamily="2" charset="0"/>
              </a:rPr>
              <a:t>Дополнительные 2 балла умножаются на весовой коэффициент </a:t>
            </a:r>
            <a:r>
              <a:rPr lang="ru-RU" sz="1400" dirty="0" smtClean="0">
                <a:ea typeface="Roboto" panose="02000000000000000000" pitchFamily="2" charset="0"/>
              </a:rPr>
              <a:t>критерия «Оригинальность и </a:t>
            </a:r>
            <a:r>
              <a:rPr lang="ru-RU" sz="1400" dirty="0">
                <a:ea typeface="Roboto" panose="02000000000000000000" pitchFamily="2" charset="0"/>
              </a:rPr>
              <a:t>новизна решения» (2*0,2=0,4 балла). Полученные 0,4 балла прибавляются к общему баллу</a:t>
            </a:r>
          </a:p>
          <a:p>
            <a:pPr marL="274638" indent="-274638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ea typeface="Roboto" panose="02000000000000000000" pitchFamily="2" charset="0"/>
              </a:rPr>
              <a:t>Штрафной балл/ы суммируются и умножаются на весовой коэффициент критерия «Презентация и выступление» (1/2*0,15=0,15/0,3 балла). Полученные 0,15/0,3 балла вычитаются из общего балла</a:t>
            </a:r>
          </a:p>
          <a:p>
            <a:pPr marL="274638" indent="-274638" algn="just">
              <a:spcAft>
                <a:spcPts val="600"/>
              </a:spcAft>
            </a:pPr>
            <a:r>
              <a:rPr lang="ru-RU" sz="1400" dirty="0">
                <a:ea typeface="Roboto" panose="02000000000000000000" pitchFamily="2" charset="0"/>
              </a:rPr>
              <a:t>Таким обзором получается итоговый балл (оценка) команды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C06065D-66DC-C542-820F-A5BD31C8C196}"/>
              </a:ext>
            </a:extLst>
          </p:cNvPr>
          <p:cNvSpPr txBox="1"/>
          <p:nvPr/>
        </p:nvSpPr>
        <p:spPr>
          <a:xfrm>
            <a:off x="8445609" y="2301510"/>
            <a:ext cx="3182829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20"/>
              </a:lnSpc>
              <a:spcAft>
                <a:spcPts val="600"/>
              </a:spcAft>
            </a:pPr>
            <a:r>
              <a:rPr lang="ru-RU" sz="1600" b="1" dirty="0">
                <a:solidFill>
                  <a:srgbClr val="006077"/>
                </a:solidFill>
                <a:ea typeface="Roboto" panose="02000000000000000000" pitchFamily="2" charset="0"/>
              </a:rPr>
              <a:t>Дополнительные и </a:t>
            </a:r>
            <a:r>
              <a:rPr lang="ru-RU" sz="1600" b="1" dirty="0" smtClean="0">
                <a:solidFill>
                  <a:srgbClr val="006077"/>
                </a:solidFill>
                <a:ea typeface="Roboto" panose="02000000000000000000" pitchFamily="2" charset="0"/>
              </a:rPr>
              <a:t>штрафные баллы</a:t>
            </a:r>
            <a:endParaRPr lang="ru-RU" sz="1600" b="1" dirty="0">
              <a:solidFill>
                <a:srgbClr val="006077"/>
              </a:solidFill>
              <a:ea typeface="Roboto" panose="020000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97A407-0DFB-764D-A5AE-98C10A7B3E2B}"/>
              </a:ext>
            </a:extLst>
          </p:cNvPr>
          <p:cNvSpPr txBox="1"/>
          <p:nvPr/>
        </p:nvSpPr>
        <p:spPr>
          <a:xfrm>
            <a:off x="9263216" y="3008593"/>
            <a:ext cx="252079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ea typeface="Roboto" panose="02000000000000000000" pitchFamily="2" charset="0"/>
              </a:rPr>
              <a:t>Балла за разработку </a:t>
            </a:r>
            <a:r>
              <a:rPr lang="ru-RU" sz="1400" dirty="0" smtClean="0">
                <a:ea typeface="Roboto" panose="02000000000000000000" pitchFamily="2" charset="0"/>
              </a:rPr>
              <a:t>кросс-функционального </a:t>
            </a:r>
            <a:r>
              <a:rPr lang="ru-RU" sz="1400" dirty="0">
                <a:ea typeface="Roboto" panose="02000000000000000000" pitchFamily="2" charset="0"/>
              </a:rPr>
              <a:t>проекта с возможностью тиражирования решения на 2 и более предприятий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556FE04-0805-CF49-BD8D-5431DDC234B3}"/>
              </a:ext>
            </a:extLst>
          </p:cNvPr>
          <p:cNvSpPr txBox="1"/>
          <p:nvPr/>
        </p:nvSpPr>
        <p:spPr>
          <a:xfrm>
            <a:off x="9263216" y="4472460"/>
            <a:ext cx="2520797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400" dirty="0">
                <a:ea typeface="Roboto" panose="02000000000000000000" pitchFamily="2" charset="0"/>
              </a:rPr>
              <a:t>Балл за превышение </a:t>
            </a:r>
            <a:r>
              <a:rPr lang="ru-RU" sz="1400" dirty="0" smtClean="0">
                <a:ea typeface="Roboto" panose="02000000000000000000" pitchFamily="2" charset="0"/>
              </a:rPr>
              <a:t>кол-ва </a:t>
            </a:r>
            <a:r>
              <a:rPr lang="ru-RU" sz="1400" dirty="0">
                <a:ea typeface="Roboto" panose="02000000000000000000" pitchFamily="2" charset="0"/>
              </a:rPr>
              <a:t>слайдов</a:t>
            </a:r>
          </a:p>
          <a:p>
            <a:pPr algn="just"/>
            <a:r>
              <a:rPr lang="ru-RU" sz="1400" dirty="0">
                <a:ea typeface="Roboto" panose="02000000000000000000" pitchFamily="2" charset="0"/>
              </a:rPr>
              <a:t>Балл за превышение командой времени выступления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F4927CD9-2AEF-704F-B986-077D8C324EFB}"/>
              </a:ext>
            </a:extLst>
          </p:cNvPr>
          <p:cNvSpPr/>
          <p:nvPr/>
        </p:nvSpPr>
        <p:spPr bwMode="auto">
          <a:xfrm>
            <a:off x="8536305" y="3082032"/>
            <a:ext cx="665669" cy="665669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55C07E6E-BA52-0845-B50A-97BB92C5474A}"/>
              </a:ext>
            </a:extLst>
          </p:cNvPr>
          <p:cNvSpPr txBox="1">
            <a:spLocks/>
          </p:cNvSpPr>
          <p:nvPr/>
        </p:nvSpPr>
        <p:spPr>
          <a:xfrm>
            <a:off x="8546410" y="3170094"/>
            <a:ext cx="655564" cy="5078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chemeClr val="bg1"/>
                </a:solidFill>
                <a:latin typeface="+mn-lt"/>
                <a:ea typeface="Roboto" panose="02000000000000000000" pitchFamily="2" charset="0"/>
              </a:rPr>
              <a:t>+2</a:t>
            </a:r>
            <a:endParaRPr lang="ru-RU" sz="3000" b="1" dirty="0">
              <a:solidFill>
                <a:schemeClr val="bg1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33C2E39-B3B4-6F4C-BE64-B76A2419F47E}"/>
              </a:ext>
            </a:extLst>
          </p:cNvPr>
          <p:cNvSpPr/>
          <p:nvPr/>
        </p:nvSpPr>
        <p:spPr bwMode="auto">
          <a:xfrm>
            <a:off x="8536305" y="4439535"/>
            <a:ext cx="665669" cy="665669"/>
          </a:xfrm>
          <a:prstGeom prst="ellipse">
            <a:avLst/>
          </a:prstGeom>
          <a:solidFill>
            <a:srgbClr val="E14E3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3B1A9770-18C4-6A40-AE4F-9E9FEFF89CFF}"/>
              </a:ext>
            </a:extLst>
          </p:cNvPr>
          <p:cNvSpPr txBox="1">
            <a:spLocks/>
          </p:cNvSpPr>
          <p:nvPr/>
        </p:nvSpPr>
        <p:spPr>
          <a:xfrm>
            <a:off x="8546410" y="4527597"/>
            <a:ext cx="655564" cy="5078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chemeClr val="bg1"/>
                </a:solidFill>
                <a:latin typeface="+mn-lt"/>
                <a:ea typeface="Roboto" panose="02000000000000000000" pitchFamily="2" charset="0"/>
              </a:rPr>
              <a:t>-1</a:t>
            </a:r>
            <a:endParaRPr lang="ru-RU" sz="3000" b="1" dirty="0">
              <a:solidFill>
                <a:schemeClr val="bg1"/>
              </a:solidFill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473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969F2818-97DD-4E5D-BF92-0B9B74B5FBA7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969F2818-97DD-4E5D-BF92-0B9B74B5FBA7}"/>
    </a:ext>
  </a:extLst>
</a:theme>
</file>

<file path=ppt/theme/theme5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809696EB-28A3-4D7D-94D1-BE943D5711BE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Общий документ" ma:contentTypeID="0x010100705FB8102D544CBFA390ABFA125793D200E6422956266E994FA7C7ACE90E8E1E31" ma:contentTypeVersion="" ma:contentTypeDescription="" ma:contentTypeScope="" ma:versionID="a9a9de499afdda573e9c360d6a095af8">
  <xsd:schema xmlns:xsd="http://www.w3.org/2001/XMLSchema" xmlns:xs="http://www.w3.org/2001/XMLSchema" xmlns:p="http://schemas.microsoft.com/office/2006/metadata/properties" xmlns:ns1="http://schemas.microsoft.com/sharepoint/v3" xmlns:ns2="5567b4f7-cd9b-431c-8ff7-8edc8756ccac" xmlns:ns3="628ec9ce-37ec-4f45-9884-a94516b45b72" targetNamespace="http://schemas.microsoft.com/office/2006/metadata/properties" ma:root="true" ma:fieldsID="2815e65e17bb5ee0a81e5137b82c5bf4" ns1:_="" ns2:_="" ns3:_="">
    <xsd:import namespace="http://schemas.microsoft.com/sharepoint/v3"/>
    <xsd:import namespace="5567b4f7-cd9b-431c-8ff7-8edc8756ccac"/>
    <xsd:import namespace="628ec9ce-37ec-4f45-9884-a94516b45b72"/>
    <xsd:element name="properties">
      <xsd:complexType>
        <xsd:sequence>
          <xsd:element name="documentManagement">
            <xsd:complexType>
              <xsd:all>
                <xsd:element ref="ns1:DocumentType"/>
                <xsd:element ref="ns1:Description" minOccurs="0"/>
                <xsd:element ref="ns1:Status"/>
                <xsd:element ref="ns1:_CopySource" minOccurs="0"/>
                <xsd:element ref="ns2:_dlc_DocId" minOccurs="0"/>
                <xsd:element ref="ns2:_dlc_DocIdUrl" minOccurs="0"/>
                <xsd:element ref="ns2:_dlc_DocIdPersistId" minOccurs="0"/>
                <xsd:element ref="ns3:TaxKeywordTaxHTField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Type" ma:index="3" ma:displayName="Тип документа" ma:default="Рабочий документ" ma:internalName="DocumentType">
      <xsd:simpleType>
        <xsd:restriction base="dms:Choice">
          <xsd:enumeration value="Рабочий документ"/>
        </xsd:restriction>
      </xsd:simpleType>
    </xsd:element>
    <xsd:element name="Description" ma:index="4" nillable="true" ma:displayName="Описание" ma:internalName="Description">
      <xsd:simpleType>
        <xsd:restriction base="dms:Note">
          <xsd:maxLength value="255"/>
        </xsd:restriction>
      </xsd:simpleType>
    </xsd:element>
    <xsd:element name="Status" ma:index="5" ma:displayName="Статус" ma:default="Черновик" ma:internalName="Status">
      <xsd:simpleType>
        <xsd:restriction base="dms:Choice">
          <xsd:enumeration value="Черновик"/>
          <xsd:enumeration value="Проект"/>
          <xsd:enumeration value="Утвержден"/>
          <xsd:enumeration value="Отменен"/>
        </xsd:restriction>
      </xsd:simpleType>
    </xsd:element>
    <xsd:element name="_CopySource" ma:index="6" nillable="true" ma:displayName="Источник копии" ma:internalName="_CopySourc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67b4f7-cd9b-431c-8ff7-8edc8756ccac" elementFormDefault="qualified">
    <xsd:import namespace="http://schemas.microsoft.com/office/2006/documentManagement/types"/>
    <xsd:import namespace="http://schemas.microsoft.com/office/infopath/2007/PartnerControls"/>
    <xsd:element name="_dlc_DocId" ma:index="7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8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9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8ec9ce-37ec-4f45-9884-a94516b45b7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1" nillable="true" ma:taxonomy="true" ma:internalName="TaxKeywordTaxHTField" ma:taxonomyFieldName="TaxKeyword" ma:displayName="Корпоративные ключевые слова" ma:fieldId="{23f27201-bee3-471e-b2e7-b64fd8b7ca38}" ma:taxonomyMulti="true" ma:sspId="29114a08-32cd-425b-9142-99f8648b7c4a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2" nillable="true" ma:displayName="Столбец для захвата всех терминов таксономии" ma:description="" ma:hidden="true" ma:list="{77b44ce9-0cd8-4e8a-a6a3-0aa421691eb0}" ma:internalName="TaxCatchAll" ma:showField="CatchAllData" ma:web="628ec9ce-37ec-4f45-9884-a94516b45b7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/>
        <xsd:element ref="dc:title" minOccurs="0" maxOccurs="1" ma:index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567b4f7-cd9b-431c-8ff7-8edc8756ccac">KS6774CA27NQ-1315063325-8032</_dlc_DocId>
    <_dlc_DocIdUrl xmlns="5567b4f7-cd9b-431c-8ff7-8edc8756ccac">
      <Url>https://sp.sibur.local/orgunits/talents/_layouts/15/DocIdRedir.aspx?ID=KS6774CA27NQ-1315063325-8032</Url>
      <Description>KS6774CA27NQ-1315063325-8032</Description>
    </_dlc_DocIdUrl>
    <DocumentType xmlns="http://schemas.microsoft.com/sharepoint/v3">Рабочий документ</DocumentType>
    <TaxKeywordTaxHTField xmlns="628ec9ce-37ec-4f45-9884-a94516b45b72">
      <Terms xmlns="http://schemas.microsoft.com/office/infopath/2007/PartnerControls"/>
    </TaxKeywordTaxHTField>
    <Status xmlns="http://schemas.microsoft.com/sharepoint/v3">Черновик</Status>
    <TaxCatchAll xmlns="628ec9ce-37ec-4f45-9884-a94516b45b72"/>
    <Description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FB377601-63EB-4A11-B27F-D1AC1D1B696E}"/>
</file>

<file path=customXml/itemProps2.xml><?xml version="1.0" encoding="utf-8"?>
<ds:datastoreItem xmlns:ds="http://schemas.openxmlformats.org/officeDocument/2006/customXml" ds:itemID="{5BD77F7F-74DE-4929-8376-712FA2F8043C}"/>
</file>

<file path=docProps/app.xml><?xml version="1.0" encoding="utf-8"?>
<Properties xmlns="http://schemas.openxmlformats.org/officeDocument/2006/extended-properties" xmlns:vt="http://schemas.openxmlformats.org/officeDocument/2006/docPropsVTypes">
  <TotalTime>3033</TotalTime>
  <Words>1229</Words>
  <Application>Microsoft Office PowerPoint</Application>
  <PresentationFormat>Широкоэкранный</PresentationFormat>
  <Paragraphs>184</Paragraphs>
  <Slides>10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5</vt:i4>
      </vt:variant>
      <vt:variant>
        <vt:lpstr>Заголовки слайдов</vt:lpstr>
      </vt:variant>
      <vt:variant>
        <vt:i4>10</vt:i4>
      </vt:variant>
    </vt:vector>
  </HeadingPairs>
  <TitlesOfParts>
    <vt:vector size="24" baseType="lpstr">
      <vt:lpstr>Arial</vt:lpstr>
      <vt:lpstr>Arial Black</vt:lpstr>
      <vt:lpstr>Calibri</vt:lpstr>
      <vt:lpstr>Calibri Light</vt:lpstr>
      <vt:lpstr>Roboto</vt:lpstr>
      <vt:lpstr>Roboto Black</vt:lpstr>
      <vt:lpstr>Roboto Light</vt:lpstr>
      <vt:lpstr>Times New Roman</vt:lpstr>
      <vt:lpstr>Wingdings</vt:lpstr>
      <vt:lpstr>Тема Office</vt:lpstr>
      <vt:lpstr>Титульные слайды</vt:lpstr>
      <vt:lpstr>1_Тема Office</vt:lpstr>
      <vt:lpstr>3_Титульные слайды</vt:lpstr>
      <vt:lpstr>Базовые слайды</vt:lpstr>
      <vt:lpstr>ПРАВИЛА ПРОВЕДЕНИЯ</vt:lpstr>
      <vt:lpstr>Цели и задачи Форума </vt:lpstr>
      <vt:lpstr>Форум в цифрах </vt:lpstr>
      <vt:lpstr>Презентация PowerPoint</vt:lpstr>
      <vt:lpstr>Презентация PowerPoint</vt:lpstr>
      <vt:lpstr>Формирование команд</vt:lpstr>
      <vt:lpstr>Рекомендации для участников</vt:lpstr>
      <vt:lpstr>Экспертная комиссия</vt:lpstr>
      <vt:lpstr>Презентация PowerPoint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улепова Елизавета Александровна</dc:creator>
  <cp:lastModifiedBy>Толмачева Ольга Валериевна</cp:lastModifiedBy>
  <cp:revision>49</cp:revision>
  <dcterms:created xsi:type="dcterms:W3CDTF">2024-03-12T01:24:45Z</dcterms:created>
  <dcterms:modified xsi:type="dcterms:W3CDTF">2024-03-26T15:4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796573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2.0</vt:lpwstr>
  </property>
  <property fmtid="{D5CDD505-2E9C-101B-9397-08002B2CF9AE}" pid="5" name="ContentTypeId">
    <vt:lpwstr>0x010100705FB8102D544CBFA390ABFA125793D200E6422956266E994FA7C7ACE90E8E1E31</vt:lpwstr>
  </property>
  <property fmtid="{D5CDD505-2E9C-101B-9397-08002B2CF9AE}" pid="6" name="_dlc_DocIdItemGuid">
    <vt:lpwstr>6171814f-1808-40fd-999b-9d4156786ce8</vt:lpwstr>
  </property>
  <property fmtid="{D5CDD505-2E9C-101B-9397-08002B2CF9AE}" pid="7" name="TaxKeyword">
    <vt:lpwstr/>
  </property>
</Properties>
</file>